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3" r:id="rId5"/>
    <p:sldMasterId id="2147483780" r:id="rId6"/>
    <p:sldMasterId id="2147483864" r:id="rId7"/>
  </p:sldMasterIdLst>
  <p:notesMasterIdLst>
    <p:notesMasterId r:id="rId9"/>
  </p:notesMasterIdLst>
  <p:sldIdLst>
    <p:sldId id="366"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4" autoAdjust="0"/>
    <p:restoredTop sz="94660"/>
  </p:normalViewPr>
  <p:slideViewPr>
    <p:cSldViewPr snapToGrid="0">
      <p:cViewPr varScale="1">
        <p:scale>
          <a:sx n="78" d="100"/>
          <a:sy n="78" d="100"/>
        </p:scale>
        <p:origin x="288" y="6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9" d="100"/>
          <a:sy n="59" d="100"/>
        </p:scale>
        <p:origin x="2528"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matshegane Ntladi (ZA)" userId="3b485ff2-38d1-44a1-bcd2-da02b0753de2" providerId="ADAL" clId="{00BAFB39-D4A4-49D5-8D50-6097C7C90DFD}"/>
    <pc:docChg chg="modSld">
      <pc:chgData name="Mmatshegane Ntladi (ZA)" userId="3b485ff2-38d1-44a1-bcd2-da02b0753de2" providerId="ADAL" clId="{00BAFB39-D4A4-49D5-8D50-6097C7C90DFD}" dt="2024-04-17T16:23:56.403" v="4" actId="1076"/>
      <pc:docMkLst>
        <pc:docMk/>
      </pc:docMkLst>
      <pc:sldChg chg="modSp mod">
        <pc:chgData name="Mmatshegane Ntladi (ZA)" userId="3b485ff2-38d1-44a1-bcd2-da02b0753de2" providerId="ADAL" clId="{00BAFB39-D4A4-49D5-8D50-6097C7C90DFD}" dt="2024-04-17T16:23:56.403" v="4" actId="1076"/>
        <pc:sldMkLst>
          <pc:docMk/>
          <pc:sldMk cId="1880919684" sldId="366"/>
        </pc:sldMkLst>
        <pc:spChg chg="mod">
          <ac:chgData name="Mmatshegane Ntladi (ZA)" userId="3b485ff2-38d1-44a1-bcd2-da02b0753de2" providerId="ADAL" clId="{00BAFB39-D4A4-49D5-8D50-6097C7C90DFD}" dt="2024-04-17T16:23:50.553" v="3" actId="404"/>
          <ac:spMkLst>
            <pc:docMk/>
            <pc:sldMk cId="1880919684" sldId="366"/>
            <ac:spMk id="2" creationId="{00000000-0000-0000-0000-000000000000}"/>
          </ac:spMkLst>
        </pc:spChg>
        <pc:spChg chg="mod">
          <ac:chgData name="Mmatshegane Ntladi (ZA)" userId="3b485ff2-38d1-44a1-bcd2-da02b0753de2" providerId="ADAL" clId="{00BAFB39-D4A4-49D5-8D50-6097C7C90DFD}" dt="2024-04-17T16:23:56.403" v="4" actId="1076"/>
          <ac:spMkLst>
            <pc:docMk/>
            <pc:sldMk cId="1880919684" sldId="366"/>
            <ac:spMk id="10" creationId="{E0AD6732-B37F-DB98-CCD3-BA4513C0A7C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D9AA23-EF39-46ED-B420-43985420B0FF}" type="datetimeFigureOut">
              <a:rPr lang="en-US" smtClean="0"/>
              <a:t>4/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F94666-77EE-47E7-8152-98EFEDAE2ABD}" type="slidenum">
              <a:rPr lang="en-US" smtClean="0"/>
              <a:t>‹#›</a:t>
            </a:fld>
            <a:endParaRPr lang="en-US"/>
          </a:p>
        </p:txBody>
      </p:sp>
    </p:spTree>
    <p:extLst>
      <p:ext uri="{BB962C8B-B14F-4D97-AF65-F5344CB8AC3E}">
        <p14:creationId xmlns:p14="http://schemas.microsoft.com/office/powerpoint/2010/main" val="2383944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F94666-77EE-47E7-8152-98EFEDAE2ABD}" type="slidenum">
              <a:rPr lang="en-US" smtClean="0"/>
              <a:t>1</a:t>
            </a:fld>
            <a:endParaRPr lang="en-US"/>
          </a:p>
        </p:txBody>
      </p:sp>
    </p:spTree>
    <p:extLst>
      <p:ext uri="{BB962C8B-B14F-4D97-AF65-F5344CB8AC3E}">
        <p14:creationId xmlns:p14="http://schemas.microsoft.com/office/powerpoint/2010/main" val="580952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3.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3.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8576"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8738511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88099847"/>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40782383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8064287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1323694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1963162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9217178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9220844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userDrawn="1"/>
        </p:nvGrpSpPr>
        <p:grpSpPr>
          <a:xfrm>
            <a:off x="12073966"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59" dirty="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59" dirty="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59" dirty="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59" dirty="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59" dirty="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59" dirty="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59" dirty="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59" dirty="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559" dirty="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559" dirty="0"/>
            </a:p>
          </p:txBody>
        </p:sp>
      </p:grpSp>
    </p:spTree>
    <p:extLst>
      <p:ext uri="{BB962C8B-B14F-4D97-AF65-F5344CB8AC3E}">
        <p14:creationId xmlns:p14="http://schemas.microsoft.com/office/powerpoint/2010/main" val="79988747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image">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7" name="Callout: Line 6">
            <a:extLst>
              <a:ext uri="{FF2B5EF4-FFF2-40B4-BE49-F238E27FC236}">
                <a16:creationId xmlns:a16="http://schemas.microsoft.com/office/drawing/2014/main" id="{6F155DD9-CB8B-4439-AE36-6FEB37836676}"/>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72205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7" y="1341439"/>
            <a:ext cx="10415016" cy="4236402"/>
          </a:xfrm>
          <a:prstGeom prst="rect">
            <a:avLst/>
          </a:prstGeom>
        </p:spPr>
      </p:pic>
    </p:spTree>
    <p:extLst>
      <p:ext uri="{BB962C8B-B14F-4D97-AF65-F5344CB8AC3E}">
        <p14:creationId xmlns:p14="http://schemas.microsoft.com/office/powerpoint/2010/main" val="41439548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ank you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7" y="1341439"/>
            <a:ext cx="10415016" cy="4236402"/>
          </a:xfrm>
          <a:prstGeom prst="rect">
            <a:avLst/>
          </a:prstGeom>
        </p:spPr>
      </p:pic>
      <p:sp>
        <p:nvSpPr>
          <p:cNvPr id="7" name="Callout: Line 6">
            <a:extLst>
              <a:ext uri="{FF2B5EF4-FFF2-40B4-BE49-F238E27FC236}">
                <a16:creationId xmlns:a16="http://schemas.microsoft.com/office/drawing/2014/main" id="{C3359D9A-2124-40C4-8BC3-9E0A2A1A1FC7}"/>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6379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Welcome on yellow">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0AAA1BD8-C6B1-4CB0-9DFB-2843B91970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82234023"/>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7633142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Op Environ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E8443B-CA77-41F0-962E-434D2DC28C3F}"/>
              </a:ext>
            </a:extLst>
          </p:cNvPr>
          <p:cNvGraphicFramePr>
            <a:graphicFrameLocks noChangeAspect="1"/>
          </p:cNvGraphicFramePr>
          <p:nvPr userDrawn="1">
            <p:custDataLst>
              <p:tags r:id="rId1"/>
            </p:custDataLst>
          </p:nvPr>
        </p:nvGraphicFramePr>
        <p:xfrm>
          <a:off x="1811" y="1440"/>
          <a:ext cx="1811" cy="1441"/>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Object 3" hidden="1">
                        <a:extLst>
                          <a:ext uri="{FF2B5EF4-FFF2-40B4-BE49-F238E27FC236}">
                            <a16:creationId xmlns:a16="http://schemas.microsoft.com/office/drawing/2014/main" id="{AFE8443B-CA77-41F0-962E-434D2DC28C3F}"/>
                          </a:ext>
                        </a:extLst>
                      </p:cNvPr>
                      <p:cNvPicPr/>
                      <p:nvPr/>
                    </p:nvPicPr>
                    <p:blipFill>
                      <a:blip r:embed="rId4"/>
                      <a:stretch>
                        <a:fillRect/>
                      </a:stretch>
                    </p:blipFill>
                    <p:spPr>
                      <a:xfrm>
                        <a:off x="1811" y="1440"/>
                        <a:ext cx="1811" cy="144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5639" y="441328"/>
            <a:ext cx="11340000" cy="310159"/>
          </a:xfrm>
        </p:spPr>
        <p:txBody>
          <a:bodyPr vert="horz" anchor="t"/>
          <a:lstStyle>
            <a:lvl1pPr>
              <a:defRPr>
                <a:solidFill>
                  <a:schemeClr val="accent1"/>
                </a:solidFill>
              </a:defRPr>
            </a:lvl1pPr>
          </a:lstStyle>
          <a:p>
            <a:r>
              <a:rPr lang="en-US"/>
              <a:t>Add title</a:t>
            </a:r>
            <a:endParaRPr lang="en-GB"/>
          </a:p>
        </p:txBody>
      </p:sp>
      <p:sp>
        <p:nvSpPr>
          <p:cNvPr id="5" name="Text Placeholder 4">
            <a:extLst>
              <a:ext uri="{FF2B5EF4-FFF2-40B4-BE49-F238E27FC236}">
                <a16:creationId xmlns:a16="http://schemas.microsoft.com/office/drawing/2014/main" id="{37CC1DCA-8DCF-48E7-A024-30049481E7A6}"/>
              </a:ext>
            </a:extLst>
          </p:cNvPr>
          <p:cNvSpPr>
            <a:spLocks noGrp="1"/>
          </p:cNvSpPr>
          <p:nvPr>
            <p:ph type="body" sz="quarter" idx="10" hasCustomPrompt="1"/>
          </p:nvPr>
        </p:nvSpPr>
        <p:spPr>
          <a:xfrm>
            <a:off x="355639" y="751488"/>
            <a:ext cx="11342164" cy="587854"/>
          </a:xfrm>
        </p:spPr>
        <p:txBody>
          <a:bodyPr/>
          <a:lstStyle>
            <a:lvl1pPr marL="0" indent="0">
              <a:buNone/>
              <a:defRPr sz="907" b="0">
                <a:solidFill>
                  <a:srgbClr val="000000"/>
                </a:solidFill>
              </a:defRPr>
            </a:lvl1pPr>
          </a:lstStyle>
          <a:p>
            <a:pPr lvl="0"/>
            <a:r>
              <a:rPr lang="en-US" dirty="0"/>
              <a:t>Add operating environment context in one or two sentences.</a:t>
            </a:r>
            <a:endParaRPr lang="en-GB" dirty="0"/>
          </a:p>
        </p:txBody>
      </p:sp>
    </p:spTree>
    <p:extLst>
      <p:ext uri="{BB962C8B-B14F-4D97-AF65-F5344CB8AC3E}">
        <p14:creationId xmlns:p14="http://schemas.microsoft.com/office/powerpoint/2010/main" val="13795002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99A5EE-F003-44B2-A950-325D309B33FB}"/>
              </a:ext>
            </a:extLst>
          </p:cNvPr>
          <p:cNvGraphicFramePr>
            <a:graphicFrameLocks noChangeAspect="1"/>
          </p:cNvGraphicFramePr>
          <p:nvPr userDrawn="1">
            <p:custDataLst>
              <p:tags r:id="rId1"/>
            </p:custDataLst>
          </p:nvPr>
        </p:nvGraphicFramePr>
        <p:xfrm>
          <a:off x="1811" y="1440"/>
          <a:ext cx="1811" cy="1441"/>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Object 3" hidden="1">
                        <a:extLst>
                          <a:ext uri="{FF2B5EF4-FFF2-40B4-BE49-F238E27FC236}">
                            <a16:creationId xmlns:a16="http://schemas.microsoft.com/office/drawing/2014/main" id="{0599A5EE-F003-44B2-A950-325D309B33FB}"/>
                          </a:ext>
                        </a:extLst>
                      </p:cNvPr>
                      <p:cNvPicPr/>
                      <p:nvPr/>
                    </p:nvPicPr>
                    <p:blipFill>
                      <a:blip r:embed="rId4"/>
                      <a:stretch>
                        <a:fillRect/>
                      </a:stretch>
                    </p:blipFill>
                    <p:spPr>
                      <a:xfrm>
                        <a:off x="1811" y="1440"/>
                        <a:ext cx="1811" cy="144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vert="horz" anchor="t"/>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7" y="1339341"/>
            <a:ext cx="11337925" cy="4637286"/>
          </a:xfrm>
        </p:spPr>
        <p:txBody>
          <a:bodyPr vert="horz" lIns="72000" tIns="45720" rIns="72000" bIns="4572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31CC6FA5-FF22-4C59-8000-9C1FA098A78B}"/>
              </a:ext>
            </a:extLst>
          </p:cNvPr>
          <p:cNvSpPr>
            <a:spLocks noGrp="1"/>
          </p:cNvSpPr>
          <p:nvPr>
            <p:ph type="body" sz="quarter" idx="19" hasCustomPrompt="1"/>
          </p:nvPr>
        </p:nvSpPr>
        <p:spPr>
          <a:xfrm>
            <a:off x="358777" y="5925121"/>
            <a:ext cx="11337924" cy="235846"/>
          </a:xfrm>
        </p:spPr>
        <p:txBody>
          <a:bodyPr vert="horz" lIns="36000" tIns="36000" rIns="36000" bIns="36000" rtlCol="0">
            <a:noAutofit/>
          </a:bodyPr>
          <a:lstStyle>
            <a:lvl1pPr marL="0" indent="0">
              <a:lnSpc>
                <a:spcPct val="100000"/>
              </a:lnSpc>
              <a:spcAft>
                <a:spcPts val="0"/>
              </a:spcAft>
              <a:buFont typeface="Arial" panose="020B0604020202020204" pitchFamily="34" charset="0"/>
              <a:buChar char="•"/>
              <a:defRPr lang="en-US" sz="726"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42476" lvl="0" indent="-242476"/>
            <a:r>
              <a:rPr lang="en-US"/>
              <a:t>Add footnote/source</a:t>
            </a:r>
          </a:p>
          <a:p>
            <a:pPr marL="242476" lvl="0" indent="-242476"/>
            <a:r>
              <a:rPr lang="en-US"/>
              <a:t>Add footnote / source</a:t>
            </a:r>
            <a:endParaRPr lang="en-GB"/>
          </a:p>
        </p:txBody>
      </p:sp>
    </p:spTree>
    <p:extLst>
      <p:ext uri="{BB962C8B-B14F-4D97-AF65-F5344CB8AC3E}">
        <p14:creationId xmlns:p14="http://schemas.microsoft.com/office/powerpoint/2010/main" val="40808115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8576"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63225240"/>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882910216"/>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90724137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56388525"/>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77347357"/>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03273601"/>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39613238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Welcome on orange">
    <p:bg>
      <p:bgPr>
        <a:solidFill>
          <a:schemeClr val="accent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71099A8-DE03-4E8D-BF7E-90D156E1D7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03294426"/>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00FC2B-E848-43EF-A094-49670979BC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073965" cy="6858000"/>
          </a:xfrm>
          <a:prstGeom prst="rect">
            <a:avLst/>
          </a:prstGeom>
        </p:spPr>
      </p:pic>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00949887"/>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16544805"/>
      </p:ext>
    </p:extLst>
  </p:cSld>
  <p:clrMapOvr>
    <a:masterClrMapping/>
  </p:clrMapOvr>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317973929"/>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Welcome on yellow">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0AAA1BD8-C6B1-4CB0-9DFB-2843B91970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47267353"/>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Welcome on orange">
    <p:bg>
      <p:bgPr>
        <a:solidFill>
          <a:schemeClr val="accent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71099A8-DE03-4E8D-BF7E-90D156E1D7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58293614"/>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Welcome on pink">
    <p:bg>
      <p:bgPr>
        <a:solidFill>
          <a:schemeClr val="accent4"/>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448403EA-A1C8-4D83-80E3-72146752402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95019390"/>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Welcome on plum">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A0D7B175-CB64-4476-B200-4DEC1EECA3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96800907"/>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Welcome on dark plum">
    <p:bg>
      <p:bgPr>
        <a:solidFill>
          <a:schemeClr val="accent6"/>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50F72321-32C2-4C42-B7F5-D6A9E88FC2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290573029"/>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A16A96-12EB-45FD-A8FB-EB976B89F65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FABB003-C294-4B0B-9C93-02517CC258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27" name="Callout: Line 26">
            <a:extLst>
              <a:ext uri="{FF2B5EF4-FFF2-40B4-BE49-F238E27FC236}">
                <a16:creationId xmlns:a16="http://schemas.microsoft.com/office/drawing/2014/main" id="{087989A1-287C-420C-9191-EDAAD76990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84480021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73975389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Welcome on pink">
    <p:bg>
      <p:bgPr>
        <a:solidFill>
          <a:schemeClr val="accent4"/>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448403EA-A1C8-4D83-80E3-72146752402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03078499"/>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6"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3</a:t>
            </a:r>
            <a:endParaRPr lang="en-GB" dirty="0"/>
          </a:p>
        </p:txBody>
      </p:sp>
    </p:spTree>
    <p:extLst>
      <p:ext uri="{BB962C8B-B14F-4D97-AF65-F5344CB8AC3E}">
        <p14:creationId xmlns:p14="http://schemas.microsoft.com/office/powerpoint/2010/main" val="1237374079"/>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38997873"/>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98501431"/>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832986013"/>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4029488029"/>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23807584"/>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730612388"/>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picture">
    <p:bg>
      <p:bgPr>
        <a:solidFill>
          <a:schemeClr val="bg2"/>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316FA29-D8E9-40B9-8903-510052AA451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Callout: Line 27">
            <a:extLst>
              <a:ext uri="{FF2B5EF4-FFF2-40B4-BE49-F238E27FC236}">
                <a16:creationId xmlns:a16="http://schemas.microsoft.com/office/drawing/2014/main" id="{275BFAF7-D7E4-4A5E-B7E6-DBCB000CDAA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068934142"/>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pic>
        <p:nvPicPr>
          <p:cNvPr id="27" name="Picture 26">
            <a:extLst>
              <a:ext uri="{FF2B5EF4-FFF2-40B4-BE49-F238E27FC236}">
                <a16:creationId xmlns:a16="http://schemas.microsoft.com/office/drawing/2014/main" id="{3EF76883-7CC7-4858-873E-B0D4F45898FA}"/>
              </a:ext>
            </a:extLst>
          </p:cNvPr>
          <p:cNvPicPr>
            <a:picLocks noChangeAspect="1"/>
          </p:cNvPicPr>
          <p:nvPr userDrawn="1"/>
        </p:nvPicPr>
        <p:blipFill rotWithShape="1">
          <a:blip r:embed="rId3"/>
          <a:srcRect l="60294" t="22177" r="9338" b="33379"/>
          <a:stretch/>
        </p:blipFill>
        <p:spPr>
          <a:xfrm>
            <a:off x="7351061" y="1520825"/>
            <a:ext cx="3702423" cy="3048080"/>
          </a:xfrm>
          <a:prstGeom prst="rect">
            <a:avLst/>
          </a:prstGeom>
        </p:spPr>
      </p:pic>
    </p:spTree>
    <p:extLst>
      <p:ext uri="{BB962C8B-B14F-4D97-AF65-F5344CB8AC3E}">
        <p14:creationId xmlns:p14="http://schemas.microsoft.com/office/powerpoint/2010/main" val="104284210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008249626"/>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Welcome on plum">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A0D7B175-CB64-4476-B200-4DEC1EECA3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37877384"/>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494248724"/>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409578914"/>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3675379150"/>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376358346"/>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372499692"/>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ivider image_#_1">
    <p:bg>
      <p:bgPr>
        <a:solidFill>
          <a:srgbClr val="FFFFF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403EB0-2B01-425F-B338-3FC8DD98692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7" name="Callout: Line 26">
            <a:extLst>
              <a:ext uri="{FF2B5EF4-FFF2-40B4-BE49-F238E27FC236}">
                <a16:creationId xmlns:a16="http://schemas.microsoft.com/office/drawing/2014/main" id="{4B6823ED-4E2E-4596-8482-3F1734F30B81}"/>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871178091"/>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accent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50"/>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690914846"/>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543737388"/>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39916358"/>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48288321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Welcome on dark plum">
    <p:bg>
      <p:bgPr>
        <a:solidFill>
          <a:schemeClr val="accent6"/>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50F72321-32C2-4C42-B7F5-D6A9E88FC2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6586037"/>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53276333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956706308"/>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ivider image_#_2">
    <p:bg>
      <p:bgPr>
        <a:solidFill>
          <a:schemeClr val="bg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1B51BF1-37EC-4913-ACE3-407CDB654E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0" name="Callout: Line 29">
            <a:extLst>
              <a:ext uri="{FF2B5EF4-FFF2-40B4-BE49-F238E27FC236}">
                <a16:creationId xmlns:a16="http://schemas.microsoft.com/office/drawing/2014/main" id="{A9F9C1D4-7985-48F1-B57B-E986AB7AA325}"/>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57618272"/>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923553983"/>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552992171"/>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695678521"/>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933299075"/>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452849332"/>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644332094"/>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58940648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A16A96-12EB-45FD-A8FB-EB976B89F65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FABB003-C294-4B0B-9C93-02517CC258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27" name="Callout: Line 26">
            <a:extLst>
              <a:ext uri="{FF2B5EF4-FFF2-40B4-BE49-F238E27FC236}">
                <a16:creationId xmlns:a16="http://schemas.microsoft.com/office/drawing/2014/main" id="{087989A1-287C-420C-9191-EDAAD76990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830853658"/>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image">
    <p:bg>
      <p:bgPr>
        <a:solidFill>
          <a:schemeClr val="bg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10293B1C-8FB7-4971-9220-BFA9BF5F415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Callout: Line 28">
            <a:extLst>
              <a:ext uri="{FF2B5EF4-FFF2-40B4-BE49-F238E27FC236}">
                <a16:creationId xmlns:a16="http://schemas.microsoft.com/office/drawing/2014/main" id="{6EC5A2D3-F85D-4CB2-AB71-544DC1E0C36D}"/>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979826206"/>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Tree>
    <p:extLst>
      <p:ext uri="{BB962C8B-B14F-4D97-AF65-F5344CB8AC3E}">
        <p14:creationId xmlns:p14="http://schemas.microsoft.com/office/powerpoint/2010/main" val="2235659784"/>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hank you imag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50EAED-B987-4FDE-9C93-D9846DC531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
        <p:nvSpPr>
          <p:cNvPr id="5" name="Callout: Line 4">
            <a:extLst>
              <a:ext uri="{FF2B5EF4-FFF2-40B4-BE49-F238E27FC236}">
                <a16:creationId xmlns:a16="http://schemas.microsoft.com/office/drawing/2014/main" id="{E2E50DD9-D4EA-4C5A-82C0-34BB3B7C19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1204997271"/>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774309925"/>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43" y="1341444"/>
            <a:ext cx="5552893" cy="1745111"/>
          </a:xfrm>
          <a:prstGeom prst="rect">
            <a:avLst/>
          </a:prstGeom>
        </p:spPr>
        <p:txBody>
          <a:bodyPr lIns="0" tIns="0" rIns="0" bIns="0" anchor="b">
            <a:noAutofit/>
          </a:bodyPr>
          <a:lstStyle>
            <a:lvl1pPr algn="l">
              <a:defRPr sz="3462" b="1">
                <a:solidFill>
                  <a:schemeClr val="accent1"/>
                </a:solidFill>
                <a:latin typeface="Arial" panose="020B0604020202020204" pitchFamily="34" charset="0"/>
                <a:cs typeface="Arial" panose="020B0604020202020204" pitchFamily="34" charset="0"/>
              </a:defRPr>
            </a:lvl1pPr>
          </a:lstStyle>
          <a:p>
            <a:r>
              <a:rPr lang="en-US"/>
              <a:t>Add divider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43" y="3104485"/>
            <a:ext cx="5552893" cy="732413"/>
          </a:xfrm>
          <a:prstGeom prst="rect">
            <a:avLst/>
          </a:prstGeom>
        </p:spPr>
        <p:txBody>
          <a:bodyPr lIns="0" tIns="0" rIns="0" bIns="0">
            <a:noAutofit/>
          </a:bodyPr>
          <a:lstStyle>
            <a:lvl1pPr marL="0" indent="0" algn="l">
              <a:lnSpc>
                <a:spcPct val="90000"/>
              </a:lnSpc>
              <a:buNone/>
              <a:defRPr sz="1888">
                <a:solidFill>
                  <a:schemeClr val="accent1"/>
                </a:solidFill>
                <a:latin typeface="Arial" panose="020B0604020202020204" pitchFamily="34" charset="0"/>
                <a:cs typeface="Arial" panose="020B0604020202020204" pitchFamily="34" charset="0"/>
              </a:defRPr>
            </a:lvl1pPr>
            <a:lvl2pPr marL="359618" indent="0" algn="ctr">
              <a:buNone/>
              <a:defRPr sz="1573"/>
            </a:lvl2pPr>
            <a:lvl3pPr marL="719236" indent="0" algn="ctr">
              <a:buNone/>
              <a:defRPr sz="1416"/>
            </a:lvl3pPr>
            <a:lvl4pPr marL="1078853" indent="0" algn="ctr">
              <a:buNone/>
              <a:defRPr sz="1258"/>
            </a:lvl4pPr>
            <a:lvl5pPr marL="1438471" indent="0" algn="ctr">
              <a:buNone/>
              <a:defRPr sz="1258"/>
            </a:lvl5pPr>
            <a:lvl6pPr marL="1798089" indent="0" algn="ctr">
              <a:buNone/>
              <a:defRPr sz="1258"/>
            </a:lvl6pPr>
            <a:lvl7pPr marL="2157707" indent="0" algn="ctr">
              <a:buNone/>
              <a:defRPr sz="1258"/>
            </a:lvl7pPr>
            <a:lvl8pPr marL="2517324" indent="0" algn="ctr">
              <a:buNone/>
              <a:defRPr sz="1258"/>
            </a:lvl8pPr>
            <a:lvl9pPr marL="2876943" indent="0" algn="ctr">
              <a:buNone/>
              <a:defRPr sz="1258"/>
            </a:lvl9pPr>
          </a:lstStyle>
          <a:p>
            <a:r>
              <a:rPr lang="en-US"/>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61"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9"/>
            <a:ext cx="2519363" cy="1595919"/>
          </a:xfrm>
        </p:spPr>
        <p:txBody>
          <a:bodyPr anchor="ctr">
            <a:noAutofit/>
          </a:bodyPr>
          <a:lstStyle>
            <a:lvl1pPr marL="0" indent="0" algn="ctr">
              <a:buNone/>
              <a:defRPr sz="9439" b="1">
                <a:solidFill>
                  <a:schemeClr val="accent1"/>
                </a:solidFill>
                <a:latin typeface="Arial" panose="020B0604020202020204" pitchFamily="34" charset="0"/>
                <a:cs typeface="Arial" panose="020B0604020202020204" pitchFamily="34" charset="0"/>
              </a:defRPr>
            </a:lvl1pPr>
          </a:lstStyle>
          <a:p>
            <a:pPr lvl="0"/>
            <a:r>
              <a:rPr lang="en-US"/>
              <a:t>00</a:t>
            </a:r>
            <a:endParaRPr lang="en-GB"/>
          </a:p>
        </p:txBody>
      </p:sp>
    </p:spTree>
    <p:extLst>
      <p:ext uri="{BB962C8B-B14F-4D97-AF65-F5344CB8AC3E}">
        <p14:creationId xmlns:p14="http://schemas.microsoft.com/office/powerpoint/2010/main" val="26992788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1"/>
            <a:ext cx="11337925" cy="4637286"/>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4910739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4"/>
            <a:ext cx="11337925" cy="4271117"/>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9">
            <a:extLst>
              <a:ext uri="{FF2B5EF4-FFF2-40B4-BE49-F238E27FC236}">
                <a16:creationId xmlns:a16="http://schemas.microsoft.com/office/drawing/2014/main" id="{BED2F0F8-4186-44B6-873A-D194D89C9C0C}"/>
              </a:ext>
            </a:extLst>
          </p:cNvPr>
          <p:cNvSpPr>
            <a:spLocks noGrp="1"/>
          </p:cNvSpPr>
          <p:nvPr>
            <p:ph type="body" sz="quarter" idx="19" hasCustomPrompt="1"/>
          </p:nvPr>
        </p:nvSpPr>
        <p:spPr>
          <a:xfrm>
            <a:off x="358781" y="5873276"/>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Tree>
    <p:extLst>
      <p:ext uri="{BB962C8B-B14F-4D97-AF65-F5344CB8AC3E}">
        <p14:creationId xmlns:p14="http://schemas.microsoft.com/office/powerpoint/2010/main" val="11186915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7"/>
            <a:ext cx="11337925"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4C64ACF3-C32C-4B1D-A5AF-6397F24027FC}"/>
              </a:ext>
            </a:extLst>
          </p:cNvPr>
          <p:cNvSpPr>
            <a:spLocks noGrp="1"/>
          </p:cNvSpPr>
          <p:nvPr>
            <p:ph type="body" sz="quarter" idx="10" hasCustomPrompt="1"/>
          </p:nvPr>
        </p:nvSpPr>
        <p:spPr>
          <a:xfrm>
            <a:off x="358776" y="573526"/>
            <a:ext cx="11342166" cy="274372"/>
          </a:xfrm>
        </p:spPr>
        <p:txBody>
          <a:bodyPr/>
          <a:lstStyle>
            <a:lvl1pPr marL="0" indent="0">
              <a:buNone/>
              <a:defRPr sz="1477" b="1">
                <a:solidFill>
                  <a:schemeClr val="accent1"/>
                </a:solidFill>
              </a:defRPr>
            </a:lvl1pPr>
          </a:lstStyle>
          <a:p>
            <a:pPr lvl="0"/>
            <a:r>
              <a:rPr lang="en-US"/>
              <a:t>Add subtitle</a:t>
            </a:r>
            <a:endParaRPr lang="en-GB"/>
          </a:p>
        </p:txBody>
      </p:sp>
      <p:sp>
        <p:nvSpPr>
          <p:cNvPr id="3" name="Title 2"/>
          <p:cNvSpPr>
            <a:spLocks noGrp="1"/>
          </p:cNvSpPr>
          <p:nvPr>
            <p:ph type="title"/>
          </p:nvPr>
        </p:nvSpPr>
        <p:spPr>
          <a:xfrm>
            <a:off x="358775" y="151224"/>
            <a:ext cx="11337925" cy="391875"/>
          </a:xfrm>
        </p:spPr>
        <p:txBody>
          <a:bodyPr/>
          <a:lstStyle>
            <a:lvl1pPr>
              <a:defRPr sz="1662"/>
            </a:lvl1pPr>
          </a:lstStyle>
          <a:p>
            <a:r>
              <a:rPr lang="en-US"/>
              <a:t>Click to edit Master title style</a:t>
            </a:r>
          </a:p>
        </p:txBody>
      </p:sp>
    </p:spTree>
    <p:extLst>
      <p:ext uri="{BB962C8B-B14F-4D97-AF65-F5344CB8AC3E}">
        <p14:creationId xmlns:p14="http://schemas.microsoft.com/office/powerpoint/2010/main" val="1887531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ub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0"/>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6"/>
            <a:ext cx="11337925" cy="3981684"/>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AA1095E4-71FF-4040-9780-3C562EF7E771}"/>
              </a:ext>
            </a:extLst>
          </p:cNvPr>
          <p:cNvSpPr>
            <a:spLocks noGrp="1"/>
          </p:cNvSpPr>
          <p:nvPr>
            <p:ph type="body" sz="quarter" idx="19" hasCustomPrompt="1"/>
          </p:nvPr>
        </p:nvSpPr>
        <p:spPr>
          <a:xfrm>
            <a:off x="358779" y="5873093"/>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
        <p:nvSpPr>
          <p:cNvPr id="8" name="Text Placeholder 4">
            <a:extLst>
              <a:ext uri="{FF2B5EF4-FFF2-40B4-BE49-F238E27FC236}">
                <a16:creationId xmlns:a16="http://schemas.microsoft.com/office/drawing/2014/main" id="{A65FC687-0C09-43B2-AAA2-63C558E5505A}"/>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6701258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4"/>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7"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a:extLst>
              <a:ext uri="{FF2B5EF4-FFF2-40B4-BE49-F238E27FC236}">
                <a16:creationId xmlns:a16="http://schemas.microsoft.com/office/drawing/2014/main" id="{FB985924-B690-4F6B-A059-A56784949324}"/>
              </a:ext>
            </a:extLst>
          </p:cNvPr>
          <p:cNvSpPr>
            <a:spLocks noGrp="1"/>
          </p:cNvSpPr>
          <p:nvPr>
            <p:ph sz="quarter" idx="12" hasCustomPrompt="1"/>
          </p:nvPr>
        </p:nvSpPr>
        <p:spPr>
          <a:xfrm>
            <a:off x="6358063"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3B40A6A2-A8EF-4A9C-B763-9930EDE7D58F}"/>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233631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82000259"/>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9" y="1520906"/>
            <a:ext cx="7166539" cy="1637364"/>
          </a:xfrm>
          <a:prstGeom prst="rect">
            <a:avLst/>
          </a:prstGeom>
        </p:spPr>
        <p:txBody>
          <a:bodyPr lIns="0" tIns="36000" rIns="36000" bIns="36000" anchor="b">
            <a:noAutofit/>
          </a:bodyPr>
          <a:lstStyle>
            <a:lvl1pPr algn="l">
              <a:defRPr sz="2811" b="1">
                <a:solidFill>
                  <a:schemeClr val="accent1"/>
                </a:solidFill>
                <a:latin typeface="Arial" panose="020B0604020202020204" pitchFamily="34" charset="0"/>
                <a:cs typeface="Arial" panose="020B0604020202020204" pitchFamily="34" charset="0"/>
              </a:defRPr>
            </a:lvl1pPr>
          </a:lstStyle>
          <a:p>
            <a:r>
              <a:rPr lang="en-US"/>
              <a:t>Add presentation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9" y="3176203"/>
            <a:ext cx="7166539" cy="732413"/>
          </a:xfrm>
          <a:prstGeom prst="rect">
            <a:avLst/>
          </a:prstGeom>
        </p:spPr>
        <p:txBody>
          <a:bodyPr lIns="0" tIns="36000" rIns="36000" bIns="36000">
            <a:noAutofit/>
          </a:bodyPr>
          <a:lstStyle>
            <a:lvl1pPr marL="0" indent="0" algn="l">
              <a:lnSpc>
                <a:spcPct val="90000"/>
              </a:lnSpc>
              <a:buNone/>
              <a:defRPr sz="1534">
                <a:solidFill>
                  <a:schemeClr val="accent1"/>
                </a:solidFill>
                <a:latin typeface="Arial" panose="020B0604020202020204" pitchFamily="34" charset="0"/>
                <a:cs typeface="Arial" panose="020B0604020202020204" pitchFamily="34" charset="0"/>
              </a:defRPr>
            </a:lvl1pPr>
            <a:lvl2pPr marL="292182" indent="0" algn="ctr">
              <a:buNone/>
              <a:defRPr sz="1278"/>
            </a:lvl2pPr>
            <a:lvl3pPr marL="584365" indent="0" algn="ctr">
              <a:buNone/>
              <a:defRPr sz="1150"/>
            </a:lvl3pPr>
            <a:lvl4pPr marL="876547" indent="0" algn="ctr">
              <a:buNone/>
              <a:defRPr sz="1022"/>
            </a:lvl4pPr>
            <a:lvl5pPr marL="1168729" indent="0" algn="ctr">
              <a:buNone/>
              <a:defRPr sz="1022"/>
            </a:lvl5pPr>
            <a:lvl6pPr marL="1460910" indent="0" algn="ctr">
              <a:buNone/>
              <a:defRPr sz="1022"/>
            </a:lvl6pPr>
            <a:lvl7pPr marL="1753093" indent="0" algn="ctr">
              <a:buNone/>
              <a:defRPr sz="1022"/>
            </a:lvl7pPr>
            <a:lvl8pPr marL="2045275" indent="0" algn="ctr">
              <a:buNone/>
              <a:defRPr sz="1022"/>
            </a:lvl8pPr>
            <a:lvl9pPr marL="2337457" indent="0" algn="ctr">
              <a:buNone/>
              <a:defRPr sz="1022"/>
            </a:lvl9pPr>
          </a:lstStyle>
          <a:p>
            <a:r>
              <a:rPr lang="en-US"/>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9" y="4273068"/>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date</a:t>
            </a:r>
            <a:endParaRPr lang="en-GB"/>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9" y="4514289"/>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name and surname of presenter</a:t>
            </a:r>
            <a:endParaRPr lang="en-GB"/>
          </a:p>
        </p:txBody>
      </p:sp>
    </p:spTree>
    <p:extLst>
      <p:ext uri="{BB962C8B-B14F-4D97-AF65-F5344CB8AC3E}">
        <p14:creationId xmlns:p14="http://schemas.microsoft.com/office/powerpoint/2010/main" val="3648752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575" y="1520825"/>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65135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094668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575341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52981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5587925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1749395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5932323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ogo on image">
    <p:bg>
      <p:bgPr>
        <a:solidFill>
          <a:schemeClr val="bg1"/>
        </a:solidFill>
        <a:effectLst/>
      </p:bgPr>
    </p:bg>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A54EE9ED-555A-421C-9860-24296AA2E28D}"/>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55" name="Picture Placeholder 54">
            <a:extLst>
              <a:ext uri="{FF2B5EF4-FFF2-40B4-BE49-F238E27FC236}">
                <a16:creationId xmlns:a16="http://schemas.microsoft.com/office/drawing/2014/main" id="{6976B526-FD93-4C23-869B-BB2B5D96E36B}"/>
              </a:ext>
            </a:extLst>
          </p:cNvPr>
          <p:cNvSpPr>
            <a:spLocks noGrp="1"/>
          </p:cNvSpPr>
          <p:nvPr>
            <p:ph type="pic" sz="quarter" idx="11" hasCustomPrompt="1"/>
          </p:nvPr>
        </p:nvSpPr>
        <p:spPr>
          <a:xfrm>
            <a:off x="2" y="2"/>
            <a:ext cx="12070587" cy="6857999"/>
          </a:xfrm>
          <a:custGeom>
            <a:avLst/>
            <a:gdLst>
              <a:gd name="connsiteX0" fmla="*/ 5260554 w 12070587"/>
              <a:gd name="connsiteY0" fmla="*/ 3817761 h 6857999"/>
              <a:gd name="connsiteX1" fmla="*/ 5141205 w 12070587"/>
              <a:gd name="connsiteY1" fmla="*/ 3873467 h 6857999"/>
              <a:gd name="connsiteX2" fmla="*/ 6095999 w 12070587"/>
              <a:gd name="connsiteY2" fmla="*/ 4480984 h 6857999"/>
              <a:gd name="connsiteX3" fmla="*/ 7050793 w 12070587"/>
              <a:gd name="connsiteY3" fmla="*/ 3873467 h 6857999"/>
              <a:gd name="connsiteX4" fmla="*/ 6931444 w 12070587"/>
              <a:gd name="connsiteY4" fmla="*/ 3817761 h 6857999"/>
              <a:gd name="connsiteX5" fmla="*/ 6095999 w 12070587"/>
              <a:gd name="connsiteY5" fmla="*/ 4349257 h 6857999"/>
              <a:gd name="connsiteX6" fmla="*/ 5260554 w 12070587"/>
              <a:gd name="connsiteY6" fmla="*/ 3817761 h 6857999"/>
              <a:gd name="connsiteX7" fmla="*/ 6776333 w 12070587"/>
              <a:gd name="connsiteY7" fmla="*/ 3453639 h 6857999"/>
              <a:gd name="connsiteX8" fmla="*/ 6776333 w 12070587"/>
              <a:gd name="connsiteY8" fmla="*/ 3542161 h 6857999"/>
              <a:gd name="connsiteX9" fmla="*/ 6722332 w 12070587"/>
              <a:gd name="connsiteY9" fmla="*/ 3547407 h 6857999"/>
              <a:gd name="connsiteX10" fmla="*/ 6654502 w 12070587"/>
              <a:gd name="connsiteY10" fmla="*/ 3499540 h 6857999"/>
              <a:gd name="connsiteX11" fmla="*/ 6713771 w 12070587"/>
              <a:gd name="connsiteY11" fmla="*/ 3457573 h 6857999"/>
              <a:gd name="connsiteX12" fmla="*/ 6776333 w 12070587"/>
              <a:gd name="connsiteY12" fmla="*/ 3453639 h 6857999"/>
              <a:gd name="connsiteX13" fmla="*/ 5538180 w 12070587"/>
              <a:gd name="connsiteY13" fmla="*/ 3453639 h 6857999"/>
              <a:gd name="connsiteX14" fmla="*/ 5538180 w 12070587"/>
              <a:gd name="connsiteY14" fmla="*/ 3542161 h 6857999"/>
              <a:gd name="connsiteX15" fmla="*/ 5484484 w 12070587"/>
              <a:gd name="connsiteY15" fmla="*/ 3547407 h 6857999"/>
              <a:gd name="connsiteX16" fmla="*/ 5417035 w 12070587"/>
              <a:gd name="connsiteY16" fmla="*/ 3499540 h 6857999"/>
              <a:gd name="connsiteX17" fmla="*/ 5475971 w 12070587"/>
              <a:gd name="connsiteY17" fmla="*/ 3457573 h 6857999"/>
              <a:gd name="connsiteX18" fmla="*/ 5538180 w 12070587"/>
              <a:gd name="connsiteY18" fmla="*/ 3453639 h 6857999"/>
              <a:gd name="connsiteX19" fmla="*/ 5894018 w 12070587"/>
              <a:gd name="connsiteY19" fmla="*/ 3312645 h 6857999"/>
              <a:gd name="connsiteX20" fmla="*/ 5982382 w 12070587"/>
              <a:gd name="connsiteY20" fmla="*/ 3429000 h 6857999"/>
              <a:gd name="connsiteX21" fmla="*/ 5894018 w 12070587"/>
              <a:gd name="connsiteY21" fmla="*/ 3545355 h 6857999"/>
              <a:gd name="connsiteX22" fmla="*/ 5832490 w 12070587"/>
              <a:gd name="connsiteY22" fmla="*/ 3537510 h 6857999"/>
              <a:gd name="connsiteX23" fmla="*/ 5832490 w 12070587"/>
              <a:gd name="connsiteY23" fmla="*/ 3321143 h 6857999"/>
              <a:gd name="connsiteX24" fmla="*/ 5894018 w 12070587"/>
              <a:gd name="connsiteY24" fmla="*/ 3312645 h 6857999"/>
              <a:gd name="connsiteX25" fmla="*/ 6333667 w 12070587"/>
              <a:gd name="connsiteY25" fmla="*/ 3218877 h 6857999"/>
              <a:gd name="connsiteX26" fmla="*/ 6150070 w 12070587"/>
              <a:gd name="connsiteY26" fmla="*/ 3356340 h 6857999"/>
              <a:gd name="connsiteX27" fmla="*/ 6293669 w 12070587"/>
              <a:gd name="connsiteY27" fmla="*/ 3466965 h 6857999"/>
              <a:gd name="connsiteX28" fmla="*/ 6382190 w 12070587"/>
              <a:gd name="connsiteY28" fmla="*/ 3504931 h 6857999"/>
              <a:gd name="connsiteX29" fmla="*/ 6299571 w 12070587"/>
              <a:gd name="connsiteY29" fmla="*/ 3545516 h 6857999"/>
              <a:gd name="connsiteX30" fmla="*/ 6159250 w 12070587"/>
              <a:gd name="connsiteY30" fmla="*/ 3525224 h 6857999"/>
              <a:gd name="connsiteX31" fmla="*/ 6167774 w 12070587"/>
              <a:gd name="connsiteY31" fmla="*/ 3616212 h 6857999"/>
              <a:gd name="connsiteX32" fmla="*/ 6308095 w 12070587"/>
              <a:gd name="connsiteY32" fmla="*/ 3639122 h 6857999"/>
              <a:gd name="connsiteX33" fmla="*/ 6493659 w 12070587"/>
              <a:gd name="connsiteY33" fmla="*/ 3505586 h 6857999"/>
              <a:gd name="connsiteX34" fmla="*/ 6337602 w 12070587"/>
              <a:gd name="connsiteY34" fmla="*/ 3380560 h 6857999"/>
              <a:gd name="connsiteX35" fmla="*/ 6260884 w 12070587"/>
              <a:gd name="connsiteY35" fmla="*/ 3353067 h 6857999"/>
              <a:gd name="connsiteX36" fmla="*/ 6341536 w 12070587"/>
              <a:gd name="connsiteY36" fmla="*/ 3312482 h 6857999"/>
              <a:gd name="connsiteX37" fmla="*/ 6462841 w 12070587"/>
              <a:gd name="connsiteY37" fmla="*/ 3327539 h 6857999"/>
              <a:gd name="connsiteX38" fmla="*/ 6454317 w 12070587"/>
              <a:gd name="connsiteY38" fmla="*/ 3237205 h 6857999"/>
              <a:gd name="connsiteX39" fmla="*/ 6333667 w 12070587"/>
              <a:gd name="connsiteY39" fmla="*/ 3218877 h 6857999"/>
              <a:gd name="connsiteX40" fmla="*/ 6707535 w 12070587"/>
              <a:gd name="connsiteY40" fmla="*/ 3218876 h 6857999"/>
              <a:gd name="connsiteX41" fmla="*/ 6582962 w 12070587"/>
              <a:gd name="connsiteY41" fmla="*/ 3237204 h 6857999"/>
              <a:gd name="connsiteX42" fmla="*/ 6574439 w 12070587"/>
              <a:gd name="connsiteY42" fmla="*/ 3327538 h 6857999"/>
              <a:gd name="connsiteX43" fmla="*/ 6695734 w 12070587"/>
              <a:gd name="connsiteY43" fmla="*/ 3312482 h 6857999"/>
              <a:gd name="connsiteX44" fmla="*/ 6776378 w 12070587"/>
              <a:gd name="connsiteY44" fmla="*/ 3363540 h 6857999"/>
              <a:gd name="connsiteX45" fmla="*/ 6776378 w 12070587"/>
              <a:gd name="connsiteY45" fmla="*/ 3376632 h 6857999"/>
              <a:gd name="connsiteX46" fmla="*/ 6699668 w 12070587"/>
              <a:gd name="connsiteY46" fmla="*/ 3380560 h 6857999"/>
              <a:gd name="connsiteX47" fmla="*/ 6543623 w 12070587"/>
              <a:gd name="connsiteY47" fmla="*/ 3505586 h 6857999"/>
              <a:gd name="connsiteX48" fmla="*/ 6719993 w 12070587"/>
              <a:gd name="connsiteY48" fmla="*/ 3639122 h 6857999"/>
              <a:gd name="connsiteX49" fmla="*/ 6886527 w 12070587"/>
              <a:gd name="connsiteY49" fmla="*/ 3611629 h 6857999"/>
              <a:gd name="connsiteX50" fmla="*/ 6886527 w 12070587"/>
              <a:gd name="connsiteY50" fmla="*/ 3356340 h 6857999"/>
              <a:gd name="connsiteX51" fmla="*/ 6707535 w 12070587"/>
              <a:gd name="connsiteY51" fmla="*/ 3218876 h 6857999"/>
              <a:gd name="connsiteX52" fmla="*/ 5469384 w 12070587"/>
              <a:gd name="connsiteY52" fmla="*/ 3218876 h 6857999"/>
              <a:gd name="connsiteX53" fmla="*/ 5344810 w 12070587"/>
              <a:gd name="connsiteY53" fmla="*/ 3237204 h 6857999"/>
              <a:gd name="connsiteX54" fmla="*/ 5336287 w 12070587"/>
              <a:gd name="connsiteY54" fmla="*/ 3327538 h 6857999"/>
              <a:gd name="connsiteX55" fmla="*/ 5457582 w 12070587"/>
              <a:gd name="connsiteY55" fmla="*/ 3312482 h 6857999"/>
              <a:gd name="connsiteX56" fmla="*/ 5538226 w 12070587"/>
              <a:gd name="connsiteY56" fmla="*/ 3363540 h 6857999"/>
              <a:gd name="connsiteX57" fmla="*/ 5538226 w 12070587"/>
              <a:gd name="connsiteY57" fmla="*/ 3376632 h 6857999"/>
              <a:gd name="connsiteX58" fmla="*/ 5461516 w 12070587"/>
              <a:gd name="connsiteY58" fmla="*/ 3380560 h 6857999"/>
              <a:gd name="connsiteX59" fmla="*/ 5305471 w 12070587"/>
              <a:gd name="connsiteY59" fmla="*/ 3505586 h 6857999"/>
              <a:gd name="connsiteX60" fmla="*/ 5481841 w 12070587"/>
              <a:gd name="connsiteY60" fmla="*/ 3639122 h 6857999"/>
              <a:gd name="connsiteX61" fmla="*/ 5648375 w 12070587"/>
              <a:gd name="connsiteY61" fmla="*/ 3611629 h 6857999"/>
              <a:gd name="connsiteX62" fmla="*/ 5648375 w 12070587"/>
              <a:gd name="connsiteY62" fmla="*/ 3356340 h 6857999"/>
              <a:gd name="connsiteX63" fmla="*/ 5469384 w 12070587"/>
              <a:gd name="connsiteY63" fmla="*/ 3218876 h 6857999"/>
              <a:gd name="connsiteX64" fmla="*/ 7085757 w 12070587"/>
              <a:gd name="connsiteY64" fmla="*/ 3068984 h 6857999"/>
              <a:gd name="connsiteX65" fmla="*/ 6962500 w 12070587"/>
              <a:gd name="connsiteY65" fmla="*/ 3114149 h 6857999"/>
              <a:gd name="connsiteX66" fmla="*/ 7017572 w 12070587"/>
              <a:gd name="connsiteY66" fmla="*/ 3428999 h 6857999"/>
              <a:gd name="connsiteX67" fmla="*/ 6962500 w 12070587"/>
              <a:gd name="connsiteY67" fmla="*/ 3743849 h 6857999"/>
              <a:gd name="connsiteX68" fmla="*/ 7085757 w 12070587"/>
              <a:gd name="connsiteY68" fmla="*/ 3789014 h 6857999"/>
              <a:gd name="connsiteX69" fmla="*/ 7149352 w 12070587"/>
              <a:gd name="connsiteY69" fmla="*/ 3428999 h 6857999"/>
              <a:gd name="connsiteX70" fmla="*/ 7085757 w 12070587"/>
              <a:gd name="connsiteY70" fmla="*/ 3068984 h 6857999"/>
              <a:gd name="connsiteX71" fmla="*/ 5106241 w 12070587"/>
              <a:gd name="connsiteY71" fmla="*/ 3068984 h 6857999"/>
              <a:gd name="connsiteX72" fmla="*/ 5042647 w 12070587"/>
              <a:gd name="connsiteY72" fmla="*/ 3428999 h 6857999"/>
              <a:gd name="connsiteX73" fmla="*/ 5106241 w 12070587"/>
              <a:gd name="connsiteY73" fmla="*/ 3789014 h 6857999"/>
              <a:gd name="connsiteX74" fmla="*/ 5229499 w 12070587"/>
              <a:gd name="connsiteY74" fmla="*/ 3743849 h 6857999"/>
              <a:gd name="connsiteX75" fmla="*/ 5174427 w 12070587"/>
              <a:gd name="connsiteY75" fmla="*/ 3428999 h 6857999"/>
              <a:gd name="connsiteX76" fmla="*/ 5229499 w 12070587"/>
              <a:gd name="connsiteY76" fmla="*/ 3114149 h 6857999"/>
              <a:gd name="connsiteX77" fmla="*/ 5106241 w 12070587"/>
              <a:gd name="connsiteY77" fmla="*/ 3068984 h 6857999"/>
              <a:gd name="connsiteX78" fmla="*/ 5832460 w 12070587"/>
              <a:gd name="connsiteY78" fmla="*/ 3008753 h 6857999"/>
              <a:gd name="connsiteX79" fmla="*/ 5722979 w 12070587"/>
              <a:gd name="connsiteY79" fmla="*/ 3020537 h 6857999"/>
              <a:gd name="connsiteX80" fmla="*/ 5722979 w 12070587"/>
              <a:gd name="connsiteY80" fmla="*/ 3611630 h 6857999"/>
              <a:gd name="connsiteX81" fmla="*/ 5885561 w 12070587"/>
              <a:gd name="connsiteY81" fmla="*/ 3639123 h 6857999"/>
              <a:gd name="connsiteX82" fmla="*/ 6095999 w 12070587"/>
              <a:gd name="connsiteY82" fmla="*/ 3429000 h 6857999"/>
              <a:gd name="connsiteX83" fmla="*/ 5911784 w 12070587"/>
              <a:gd name="connsiteY83" fmla="*/ 3218877 h 6857999"/>
              <a:gd name="connsiteX84" fmla="*/ 5832460 w 12070587"/>
              <a:gd name="connsiteY84" fmla="*/ 3228696 h 6857999"/>
              <a:gd name="connsiteX85" fmla="*/ 5832460 w 12070587"/>
              <a:gd name="connsiteY85" fmla="*/ 3008753 h 6857999"/>
              <a:gd name="connsiteX86" fmla="*/ 6095999 w 12070587"/>
              <a:gd name="connsiteY86" fmla="*/ 2377015 h 6857999"/>
              <a:gd name="connsiteX87" fmla="*/ 5141205 w 12070587"/>
              <a:gd name="connsiteY87" fmla="*/ 2984532 h 6857999"/>
              <a:gd name="connsiteX88" fmla="*/ 5260555 w 12070587"/>
              <a:gd name="connsiteY88" fmla="*/ 3040238 h 6857999"/>
              <a:gd name="connsiteX89" fmla="*/ 6095999 w 12070587"/>
              <a:gd name="connsiteY89" fmla="*/ 2508742 h 6857999"/>
              <a:gd name="connsiteX90" fmla="*/ 6931444 w 12070587"/>
              <a:gd name="connsiteY90" fmla="*/ 3040238 h 6857999"/>
              <a:gd name="connsiteX91" fmla="*/ 7050793 w 12070587"/>
              <a:gd name="connsiteY91" fmla="*/ 2984532 h 6857999"/>
              <a:gd name="connsiteX92" fmla="*/ 6095999 w 12070587"/>
              <a:gd name="connsiteY92" fmla="*/ 2377015 h 6857999"/>
              <a:gd name="connsiteX93" fmla="*/ 0 w 12070587"/>
              <a:gd name="connsiteY93" fmla="*/ 0 h 6857999"/>
              <a:gd name="connsiteX94" fmla="*/ 12070587 w 12070587"/>
              <a:gd name="connsiteY94" fmla="*/ 0 h 6857999"/>
              <a:gd name="connsiteX95" fmla="*/ 12070587 w 12070587"/>
              <a:gd name="connsiteY95" fmla="*/ 6857999 h 6857999"/>
              <a:gd name="connsiteX96" fmla="*/ 0 w 12070587"/>
              <a:gd name="connsiteY9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070587" h="6857999">
                <a:moveTo>
                  <a:pt x="5260554" y="3817761"/>
                </a:moveTo>
                <a:lnTo>
                  <a:pt x="5141205" y="3873467"/>
                </a:lnTo>
                <a:cubicBezTo>
                  <a:pt x="5309082" y="4232603"/>
                  <a:pt x="5673686" y="4480984"/>
                  <a:pt x="6095999" y="4480984"/>
                </a:cubicBezTo>
                <a:cubicBezTo>
                  <a:pt x="6518312" y="4480984"/>
                  <a:pt x="6882917" y="4232603"/>
                  <a:pt x="7050793" y="3873467"/>
                </a:cubicBezTo>
                <a:cubicBezTo>
                  <a:pt x="6931444" y="3817761"/>
                  <a:pt x="6931444" y="3817761"/>
                  <a:pt x="6931444" y="3817761"/>
                </a:cubicBezTo>
                <a:cubicBezTo>
                  <a:pt x="6784553" y="4131678"/>
                  <a:pt x="6465851" y="4349257"/>
                  <a:pt x="6095999" y="4349257"/>
                </a:cubicBezTo>
                <a:cubicBezTo>
                  <a:pt x="5726148" y="4349257"/>
                  <a:pt x="5407446" y="4131678"/>
                  <a:pt x="5260554" y="3817761"/>
                </a:cubicBezTo>
                <a:close/>
                <a:moveTo>
                  <a:pt x="6776333" y="3453639"/>
                </a:moveTo>
                <a:lnTo>
                  <a:pt x="6776333" y="3542161"/>
                </a:lnTo>
                <a:cubicBezTo>
                  <a:pt x="6761845" y="3544129"/>
                  <a:pt x="6742089" y="3547407"/>
                  <a:pt x="6722332" y="3547407"/>
                </a:cubicBezTo>
                <a:cubicBezTo>
                  <a:pt x="6674259" y="3547407"/>
                  <a:pt x="6654502" y="3532326"/>
                  <a:pt x="6654502" y="3499540"/>
                </a:cubicBezTo>
                <a:cubicBezTo>
                  <a:pt x="6654502" y="3465442"/>
                  <a:pt x="6673600" y="3459540"/>
                  <a:pt x="6713771" y="3457573"/>
                </a:cubicBezTo>
                <a:cubicBezTo>
                  <a:pt x="6776333" y="3453639"/>
                  <a:pt x="6776333" y="3453639"/>
                  <a:pt x="6776333" y="3453639"/>
                </a:cubicBezTo>
                <a:close/>
                <a:moveTo>
                  <a:pt x="5538180" y="3453639"/>
                </a:moveTo>
                <a:lnTo>
                  <a:pt x="5538180" y="3542161"/>
                </a:lnTo>
                <a:cubicBezTo>
                  <a:pt x="5523774" y="3544129"/>
                  <a:pt x="5504784" y="3547407"/>
                  <a:pt x="5484484" y="3547407"/>
                </a:cubicBezTo>
                <a:cubicBezTo>
                  <a:pt x="5436680" y="3547407"/>
                  <a:pt x="5417035" y="3532326"/>
                  <a:pt x="5417035" y="3499540"/>
                </a:cubicBezTo>
                <a:cubicBezTo>
                  <a:pt x="5417035" y="3465442"/>
                  <a:pt x="5436025" y="3459540"/>
                  <a:pt x="5475971" y="3457573"/>
                </a:cubicBezTo>
                <a:cubicBezTo>
                  <a:pt x="5538180" y="3453639"/>
                  <a:pt x="5538180" y="3453639"/>
                  <a:pt x="5538180" y="3453639"/>
                </a:cubicBezTo>
                <a:close/>
                <a:moveTo>
                  <a:pt x="5894018" y="3312645"/>
                </a:moveTo>
                <a:cubicBezTo>
                  <a:pt x="5953582" y="3312645"/>
                  <a:pt x="5982382" y="3340100"/>
                  <a:pt x="5982382" y="3429000"/>
                </a:cubicBezTo>
                <a:cubicBezTo>
                  <a:pt x="5982382" y="3517900"/>
                  <a:pt x="5953582" y="3545355"/>
                  <a:pt x="5894018" y="3545355"/>
                </a:cubicBezTo>
                <a:cubicBezTo>
                  <a:pt x="5874381" y="3545355"/>
                  <a:pt x="5856708" y="3542740"/>
                  <a:pt x="5832490" y="3537510"/>
                </a:cubicBezTo>
                <a:cubicBezTo>
                  <a:pt x="5832490" y="3321143"/>
                  <a:pt x="5832490" y="3321143"/>
                  <a:pt x="5832490" y="3321143"/>
                </a:cubicBezTo>
                <a:cubicBezTo>
                  <a:pt x="5852781" y="3316568"/>
                  <a:pt x="5872418" y="3312645"/>
                  <a:pt x="5894018" y="3312645"/>
                </a:cubicBezTo>
                <a:close/>
                <a:moveTo>
                  <a:pt x="6333667" y="3218877"/>
                </a:moveTo>
                <a:cubicBezTo>
                  <a:pt x="6201215" y="3218877"/>
                  <a:pt x="6150070" y="3266662"/>
                  <a:pt x="6150070" y="3356340"/>
                </a:cubicBezTo>
                <a:cubicBezTo>
                  <a:pt x="6150070" y="3443400"/>
                  <a:pt x="6203838" y="3465656"/>
                  <a:pt x="6293669" y="3466965"/>
                </a:cubicBezTo>
                <a:cubicBezTo>
                  <a:pt x="6352027" y="3468274"/>
                  <a:pt x="6382190" y="3466311"/>
                  <a:pt x="6382190" y="3504931"/>
                </a:cubicBezTo>
                <a:cubicBezTo>
                  <a:pt x="6382190" y="3538315"/>
                  <a:pt x="6355961" y="3545516"/>
                  <a:pt x="6299571" y="3545516"/>
                </a:cubicBezTo>
                <a:cubicBezTo>
                  <a:pt x="6236623" y="3545516"/>
                  <a:pt x="6192035" y="3535697"/>
                  <a:pt x="6159250" y="3525224"/>
                </a:cubicBezTo>
                <a:cubicBezTo>
                  <a:pt x="6167774" y="3616212"/>
                  <a:pt x="6167774" y="3616212"/>
                  <a:pt x="6167774" y="3616212"/>
                </a:cubicBezTo>
                <a:cubicBezTo>
                  <a:pt x="6209739" y="3631267"/>
                  <a:pt x="6249737" y="3639122"/>
                  <a:pt x="6308095" y="3639122"/>
                </a:cubicBezTo>
                <a:cubicBezTo>
                  <a:pt x="6449727" y="3639122"/>
                  <a:pt x="6493659" y="3591337"/>
                  <a:pt x="6493659" y="3505586"/>
                </a:cubicBezTo>
                <a:cubicBezTo>
                  <a:pt x="6493659" y="3396924"/>
                  <a:pt x="6422187" y="3381869"/>
                  <a:pt x="6337602" y="3380560"/>
                </a:cubicBezTo>
                <a:cubicBezTo>
                  <a:pt x="6290391" y="3379905"/>
                  <a:pt x="6260884" y="3378596"/>
                  <a:pt x="6260884" y="3353067"/>
                </a:cubicBezTo>
                <a:cubicBezTo>
                  <a:pt x="6260884" y="3319684"/>
                  <a:pt x="6281211" y="3312482"/>
                  <a:pt x="6341536" y="3312482"/>
                </a:cubicBezTo>
                <a:cubicBezTo>
                  <a:pt x="6378255" y="3312482"/>
                  <a:pt x="6430056" y="3319684"/>
                  <a:pt x="6462841" y="3327539"/>
                </a:cubicBezTo>
                <a:cubicBezTo>
                  <a:pt x="6454317" y="3237205"/>
                  <a:pt x="6454317" y="3237205"/>
                  <a:pt x="6454317" y="3237205"/>
                </a:cubicBezTo>
                <a:cubicBezTo>
                  <a:pt x="6411696" y="3224113"/>
                  <a:pt x="6365141" y="3218877"/>
                  <a:pt x="6333667" y="3218877"/>
                </a:cubicBezTo>
                <a:close/>
                <a:moveTo>
                  <a:pt x="6707535" y="3218876"/>
                </a:moveTo>
                <a:cubicBezTo>
                  <a:pt x="6672131" y="3218876"/>
                  <a:pt x="6625579" y="3224113"/>
                  <a:pt x="6582962" y="3237204"/>
                </a:cubicBezTo>
                <a:cubicBezTo>
                  <a:pt x="6574439" y="3327538"/>
                  <a:pt x="6574439" y="3327538"/>
                  <a:pt x="6574439" y="3327538"/>
                </a:cubicBezTo>
                <a:cubicBezTo>
                  <a:pt x="6609188" y="3319683"/>
                  <a:pt x="6660984" y="3312482"/>
                  <a:pt x="6695734" y="3312482"/>
                </a:cubicBezTo>
                <a:cubicBezTo>
                  <a:pt x="6752775" y="3312482"/>
                  <a:pt x="6776378" y="3317719"/>
                  <a:pt x="6776378" y="3363540"/>
                </a:cubicBezTo>
                <a:cubicBezTo>
                  <a:pt x="6776378" y="3376632"/>
                  <a:pt x="6776378" y="3376632"/>
                  <a:pt x="6776378" y="3376632"/>
                </a:cubicBezTo>
                <a:cubicBezTo>
                  <a:pt x="6699668" y="3380560"/>
                  <a:pt x="6699668" y="3380560"/>
                  <a:pt x="6699668" y="3380560"/>
                </a:cubicBezTo>
                <a:cubicBezTo>
                  <a:pt x="6615089" y="3385142"/>
                  <a:pt x="6543623" y="3396924"/>
                  <a:pt x="6543623" y="3505586"/>
                </a:cubicBezTo>
                <a:cubicBezTo>
                  <a:pt x="6543623" y="3591337"/>
                  <a:pt x="6587552" y="3639122"/>
                  <a:pt x="6719993" y="3639122"/>
                </a:cubicBezTo>
                <a:cubicBezTo>
                  <a:pt x="6781624" y="3639122"/>
                  <a:pt x="6840632" y="3626030"/>
                  <a:pt x="6886527" y="3611629"/>
                </a:cubicBezTo>
                <a:cubicBezTo>
                  <a:pt x="6886527" y="3356340"/>
                  <a:pt x="6886527" y="3356340"/>
                  <a:pt x="6886527" y="3356340"/>
                </a:cubicBezTo>
                <a:cubicBezTo>
                  <a:pt x="6886527" y="3266661"/>
                  <a:pt x="6836043" y="3218876"/>
                  <a:pt x="6707535" y="3218876"/>
                </a:cubicBezTo>
                <a:close/>
                <a:moveTo>
                  <a:pt x="5469384" y="3218876"/>
                </a:moveTo>
                <a:cubicBezTo>
                  <a:pt x="5433978" y="3218876"/>
                  <a:pt x="5387427" y="3224113"/>
                  <a:pt x="5344810" y="3237204"/>
                </a:cubicBezTo>
                <a:cubicBezTo>
                  <a:pt x="5336287" y="3327538"/>
                  <a:pt x="5336287" y="3327538"/>
                  <a:pt x="5336287" y="3327538"/>
                </a:cubicBezTo>
                <a:cubicBezTo>
                  <a:pt x="5371037" y="3319684"/>
                  <a:pt x="5422832" y="3312482"/>
                  <a:pt x="5457582" y="3312482"/>
                </a:cubicBezTo>
                <a:cubicBezTo>
                  <a:pt x="5514624" y="3312482"/>
                  <a:pt x="5538226" y="3317719"/>
                  <a:pt x="5538226" y="3363540"/>
                </a:cubicBezTo>
                <a:cubicBezTo>
                  <a:pt x="5538226" y="3376632"/>
                  <a:pt x="5538226" y="3376632"/>
                  <a:pt x="5538226" y="3376632"/>
                </a:cubicBezTo>
                <a:cubicBezTo>
                  <a:pt x="5461516" y="3380560"/>
                  <a:pt x="5461516" y="3380560"/>
                  <a:pt x="5461516" y="3380560"/>
                </a:cubicBezTo>
                <a:cubicBezTo>
                  <a:pt x="5376937" y="3385142"/>
                  <a:pt x="5305471" y="3399543"/>
                  <a:pt x="5305471" y="3505586"/>
                </a:cubicBezTo>
                <a:cubicBezTo>
                  <a:pt x="5305471" y="3591337"/>
                  <a:pt x="5349400" y="3639122"/>
                  <a:pt x="5481841" y="3639122"/>
                </a:cubicBezTo>
                <a:cubicBezTo>
                  <a:pt x="5543472" y="3639122"/>
                  <a:pt x="5602480" y="3626030"/>
                  <a:pt x="5648375" y="3611629"/>
                </a:cubicBezTo>
                <a:cubicBezTo>
                  <a:pt x="5648375" y="3356340"/>
                  <a:pt x="5648375" y="3356340"/>
                  <a:pt x="5648375" y="3356340"/>
                </a:cubicBezTo>
                <a:cubicBezTo>
                  <a:pt x="5648375" y="3266662"/>
                  <a:pt x="5597891" y="3218876"/>
                  <a:pt x="5469384" y="3218876"/>
                </a:cubicBezTo>
                <a:close/>
                <a:moveTo>
                  <a:pt x="7085757" y="3068984"/>
                </a:moveTo>
                <a:lnTo>
                  <a:pt x="6962500" y="3114149"/>
                </a:lnTo>
                <a:cubicBezTo>
                  <a:pt x="6997904" y="3212335"/>
                  <a:pt x="7017572" y="3318377"/>
                  <a:pt x="7017572" y="3428999"/>
                </a:cubicBezTo>
                <a:cubicBezTo>
                  <a:pt x="7017572" y="3539622"/>
                  <a:pt x="6997904" y="3645663"/>
                  <a:pt x="6962500" y="3743849"/>
                </a:cubicBezTo>
                <a:cubicBezTo>
                  <a:pt x="7085757" y="3789014"/>
                  <a:pt x="7085757" y="3789014"/>
                  <a:pt x="7085757" y="3789014"/>
                </a:cubicBezTo>
                <a:cubicBezTo>
                  <a:pt x="7127061" y="3676427"/>
                  <a:pt x="7149352" y="3555331"/>
                  <a:pt x="7149352" y="3428999"/>
                </a:cubicBezTo>
                <a:cubicBezTo>
                  <a:pt x="7149352" y="3302667"/>
                  <a:pt x="7127061" y="3181570"/>
                  <a:pt x="7085757" y="3068984"/>
                </a:cubicBezTo>
                <a:close/>
                <a:moveTo>
                  <a:pt x="5106241" y="3068984"/>
                </a:moveTo>
                <a:cubicBezTo>
                  <a:pt x="5064938" y="3181570"/>
                  <a:pt x="5042647" y="3302667"/>
                  <a:pt x="5042647" y="3428999"/>
                </a:cubicBezTo>
                <a:cubicBezTo>
                  <a:pt x="5042647" y="3555331"/>
                  <a:pt x="5064938" y="3676427"/>
                  <a:pt x="5106241" y="3789014"/>
                </a:cubicBezTo>
                <a:cubicBezTo>
                  <a:pt x="5229499" y="3743849"/>
                  <a:pt x="5229499" y="3743849"/>
                  <a:pt x="5229499" y="3743849"/>
                </a:cubicBezTo>
                <a:cubicBezTo>
                  <a:pt x="5194095" y="3645663"/>
                  <a:pt x="5174427" y="3539622"/>
                  <a:pt x="5174427" y="3428999"/>
                </a:cubicBezTo>
                <a:cubicBezTo>
                  <a:pt x="5174427" y="3318377"/>
                  <a:pt x="5194095" y="3212335"/>
                  <a:pt x="5229499" y="3114149"/>
                </a:cubicBezTo>
                <a:cubicBezTo>
                  <a:pt x="5106241" y="3068984"/>
                  <a:pt x="5106241" y="3068984"/>
                  <a:pt x="5106241" y="3068984"/>
                </a:cubicBezTo>
                <a:close/>
                <a:moveTo>
                  <a:pt x="5832460" y="3008753"/>
                </a:moveTo>
                <a:cubicBezTo>
                  <a:pt x="5722979" y="3020537"/>
                  <a:pt x="5722979" y="3020537"/>
                  <a:pt x="5722979" y="3020537"/>
                </a:cubicBezTo>
                <a:cubicBezTo>
                  <a:pt x="5722979" y="3611630"/>
                  <a:pt x="5722979" y="3611630"/>
                  <a:pt x="5722979" y="3611630"/>
                </a:cubicBezTo>
                <a:cubicBezTo>
                  <a:pt x="5768214" y="3626031"/>
                  <a:pt x="5827215" y="3639123"/>
                  <a:pt x="5885561" y="3639123"/>
                </a:cubicBezTo>
                <a:cubicBezTo>
                  <a:pt x="6017986" y="3639123"/>
                  <a:pt x="6095999" y="3594611"/>
                  <a:pt x="6095999" y="3429000"/>
                </a:cubicBezTo>
                <a:cubicBezTo>
                  <a:pt x="6095999" y="3263389"/>
                  <a:pt x="6017986" y="3218877"/>
                  <a:pt x="5911784" y="3218877"/>
                </a:cubicBezTo>
                <a:cubicBezTo>
                  <a:pt x="5885561" y="3218877"/>
                  <a:pt x="5857372" y="3223459"/>
                  <a:pt x="5832460" y="3228696"/>
                </a:cubicBezTo>
                <a:cubicBezTo>
                  <a:pt x="5832460" y="3008753"/>
                  <a:pt x="5832460" y="3008753"/>
                  <a:pt x="5832460" y="3008753"/>
                </a:cubicBezTo>
                <a:close/>
                <a:moveTo>
                  <a:pt x="6095999" y="2377015"/>
                </a:moveTo>
                <a:cubicBezTo>
                  <a:pt x="5673687" y="2377015"/>
                  <a:pt x="5309082" y="2625396"/>
                  <a:pt x="5141205" y="2984532"/>
                </a:cubicBezTo>
                <a:cubicBezTo>
                  <a:pt x="5260555" y="3040238"/>
                  <a:pt x="5260555" y="3040238"/>
                  <a:pt x="5260555" y="3040238"/>
                </a:cubicBezTo>
                <a:cubicBezTo>
                  <a:pt x="5407446" y="2726321"/>
                  <a:pt x="5726148" y="2508742"/>
                  <a:pt x="6095999" y="2508742"/>
                </a:cubicBezTo>
                <a:cubicBezTo>
                  <a:pt x="6465851" y="2508742"/>
                  <a:pt x="6784553" y="2726321"/>
                  <a:pt x="6931444" y="3040238"/>
                </a:cubicBezTo>
                <a:lnTo>
                  <a:pt x="7050793" y="2984532"/>
                </a:lnTo>
                <a:cubicBezTo>
                  <a:pt x="6882917" y="2625396"/>
                  <a:pt x="6518312" y="2377015"/>
                  <a:pt x="6095999" y="2377015"/>
                </a:cubicBezTo>
                <a:close/>
                <a:moveTo>
                  <a:pt x="0" y="0"/>
                </a:moveTo>
                <a:lnTo>
                  <a:pt x="12070587" y="0"/>
                </a:lnTo>
                <a:lnTo>
                  <a:pt x="12070587"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grpSp>
        <p:nvGrpSpPr>
          <p:cNvPr id="38" name="Group 37">
            <a:extLst>
              <a:ext uri="{FF2B5EF4-FFF2-40B4-BE49-F238E27FC236}">
                <a16:creationId xmlns:a16="http://schemas.microsoft.com/office/drawing/2014/main" id="{16858DA2-A04B-4C1F-88E7-7812226B21FC}"/>
              </a:ext>
            </a:extLst>
          </p:cNvPr>
          <p:cNvGrpSpPr/>
          <p:nvPr userDrawn="1"/>
        </p:nvGrpSpPr>
        <p:grpSpPr>
          <a:xfrm>
            <a:off x="12073965" y="-3096"/>
            <a:ext cx="127000" cy="6858000"/>
            <a:chOff x="12073965" y="-3096"/>
            <a:chExt cx="127000" cy="6096000"/>
          </a:xfrm>
        </p:grpSpPr>
        <p:sp>
          <p:nvSpPr>
            <p:cNvPr id="39" name="Freeform: Shape 38">
              <a:extLst>
                <a:ext uri="{FF2B5EF4-FFF2-40B4-BE49-F238E27FC236}">
                  <a16:creationId xmlns:a16="http://schemas.microsoft.com/office/drawing/2014/main" id="{FE1DBD67-46EB-4158-A3F3-7F69D2857099}"/>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92D4B23E-82F1-427F-8ABB-1AD138592E68}"/>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41" name="Freeform: Shape 40">
              <a:extLst>
                <a:ext uri="{FF2B5EF4-FFF2-40B4-BE49-F238E27FC236}">
                  <a16:creationId xmlns:a16="http://schemas.microsoft.com/office/drawing/2014/main" id="{DF427EFE-0781-4A67-BA99-1CA710699A94}"/>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42" name="Freeform: Shape 41">
              <a:extLst>
                <a:ext uri="{FF2B5EF4-FFF2-40B4-BE49-F238E27FC236}">
                  <a16:creationId xmlns:a16="http://schemas.microsoft.com/office/drawing/2014/main" id="{B8588E09-4AA1-4660-825A-8709E680FB43}"/>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43" name="Freeform: Shape 42">
              <a:extLst>
                <a:ext uri="{FF2B5EF4-FFF2-40B4-BE49-F238E27FC236}">
                  <a16:creationId xmlns:a16="http://schemas.microsoft.com/office/drawing/2014/main" id="{1C0F6CD9-31F9-4046-BBE2-7E40397C03A2}"/>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44" name="Freeform: Shape 43">
              <a:extLst>
                <a:ext uri="{FF2B5EF4-FFF2-40B4-BE49-F238E27FC236}">
                  <a16:creationId xmlns:a16="http://schemas.microsoft.com/office/drawing/2014/main" id="{0A65E82F-4C0A-419A-84F0-691144B4F9CD}"/>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45" name="Freeform: Shape 44">
              <a:extLst>
                <a:ext uri="{FF2B5EF4-FFF2-40B4-BE49-F238E27FC236}">
                  <a16:creationId xmlns:a16="http://schemas.microsoft.com/office/drawing/2014/main" id="{F4B15234-CB84-4E7C-A563-55BED2C512A0}"/>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46" name="Freeform: Shape 45">
              <a:extLst>
                <a:ext uri="{FF2B5EF4-FFF2-40B4-BE49-F238E27FC236}">
                  <a16:creationId xmlns:a16="http://schemas.microsoft.com/office/drawing/2014/main" id="{2259F3C9-ADB3-47B7-A551-D009268AFD26}"/>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47" name="Freeform: Shape 46">
              <a:extLst>
                <a:ext uri="{FF2B5EF4-FFF2-40B4-BE49-F238E27FC236}">
                  <a16:creationId xmlns:a16="http://schemas.microsoft.com/office/drawing/2014/main" id="{9B66DE40-0BDD-4C2E-BC7F-E347D17BA98F}"/>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48" name="Freeform: Shape 47">
              <a:extLst>
                <a:ext uri="{FF2B5EF4-FFF2-40B4-BE49-F238E27FC236}">
                  <a16:creationId xmlns:a16="http://schemas.microsoft.com/office/drawing/2014/main" id="{9D81AFAD-7CF0-4232-B779-1D8AEE4607D8}"/>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49" name="Freeform: Shape 48">
              <a:extLst>
                <a:ext uri="{FF2B5EF4-FFF2-40B4-BE49-F238E27FC236}">
                  <a16:creationId xmlns:a16="http://schemas.microsoft.com/office/drawing/2014/main" id="{3972C81B-B1F3-476D-94BB-FD814E8AE0CE}"/>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50" name="Freeform: Shape 49">
              <a:extLst>
                <a:ext uri="{FF2B5EF4-FFF2-40B4-BE49-F238E27FC236}">
                  <a16:creationId xmlns:a16="http://schemas.microsoft.com/office/drawing/2014/main" id="{C3BE9BD6-A9EC-473D-BBFF-2597C42ADED9}"/>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51" name="Freeform: Shape 50">
              <a:extLst>
                <a:ext uri="{FF2B5EF4-FFF2-40B4-BE49-F238E27FC236}">
                  <a16:creationId xmlns:a16="http://schemas.microsoft.com/office/drawing/2014/main" id="{E86897F6-ACED-4895-99FA-80303816FB4A}"/>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52" name="Freeform: Shape 51">
              <a:extLst>
                <a:ext uri="{FF2B5EF4-FFF2-40B4-BE49-F238E27FC236}">
                  <a16:creationId xmlns:a16="http://schemas.microsoft.com/office/drawing/2014/main" id="{7D0284F5-2D47-4FD8-A33F-3A802B8C26F6}"/>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53" name="Freeform: Shape 52">
              <a:extLst>
                <a:ext uri="{FF2B5EF4-FFF2-40B4-BE49-F238E27FC236}">
                  <a16:creationId xmlns:a16="http://schemas.microsoft.com/office/drawing/2014/main" id="{3A601995-3D29-4CCE-8D0C-D6243F4E9C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54" name="Freeform: Shape 53">
              <a:extLst>
                <a:ext uri="{FF2B5EF4-FFF2-40B4-BE49-F238E27FC236}">
                  <a16:creationId xmlns:a16="http://schemas.microsoft.com/office/drawing/2014/main" id="{A3CED2C5-4AE4-4623-87C7-73A128C9072C}"/>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20599927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userDrawn="1"/>
        </p:nvPicPr>
        <p:blipFill>
          <a:blip r:embed="rId2"/>
          <a:stretch>
            <a:fillRect/>
          </a:stretch>
        </p:blipFill>
        <p:spPr>
          <a:xfrm>
            <a:off x="1772156"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08026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6"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3</a:t>
            </a:r>
            <a:endParaRPr lang="en-GB" dirty="0"/>
          </a:p>
        </p:txBody>
      </p:sp>
    </p:spTree>
    <p:extLst>
      <p:ext uri="{BB962C8B-B14F-4D97-AF65-F5344CB8AC3E}">
        <p14:creationId xmlns:p14="http://schemas.microsoft.com/office/powerpoint/2010/main" val="295444314"/>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9219705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elcome on yellow">
    <p:bg>
      <p:bgPr>
        <a:solidFill>
          <a:schemeClr val="accent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0AAA1BD8-C6B1-4CB0-9DFB-2843B9197074}"/>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2106627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elcome on orange">
    <p:bg>
      <p:bgPr>
        <a:solidFill>
          <a:schemeClr val="accent3"/>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71099A8-DE03-4E8D-BF7E-90D156E1D72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7304520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elcome on pink">
    <p:bg>
      <p:bgPr>
        <a:solidFill>
          <a:schemeClr val="accent4"/>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48403EA-A1C8-4D83-80E3-72146752402D}"/>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16426473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elcome on plum">
    <p:bg>
      <p:bgPr>
        <a:solidFill>
          <a:schemeClr val="accent5"/>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0D7B175-CB64-4476-B200-4DEC1EECA3F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8544689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elcome on dark plum">
    <p:bg>
      <p:bgPr>
        <a:solidFill>
          <a:schemeClr val="accent6"/>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50F72321-32C2-4C42-B7F5-D6A9E88FC2D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557278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elcome on image">
    <p:bg>
      <p:bgPr>
        <a:solidFill>
          <a:schemeClr val="bg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FABB003-C294-4B0B-9C93-02517CC2586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45" name="Picture Placeholder 44">
            <a:extLst>
              <a:ext uri="{FF2B5EF4-FFF2-40B4-BE49-F238E27FC236}">
                <a16:creationId xmlns:a16="http://schemas.microsoft.com/office/drawing/2014/main" id="{4489F5A6-C029-4018-8040-541677B07A30}"/>
              </a:ext>
            </a:extLst>
          </p:cNvPr>
          <p:cNvSpPr>
            <a:spLocks noGrp="1"/>
          </p:cNvSpPr>
          <p:nvPr>
            <p:ph type="pic" sz="quarter" idx="11" hasCustomPrompt="1"/>
          </p:nvPr>
        </p:nvSpPr>
        <p:spPr>
          <a:xfrm>
            <a:off x="2" y="2"/>
            <a:ext cx="12070798" cy="6857999"/>
          </a:xfrm>
          <a:custGeom>
            <a:avLst/>
            <a:gdLst>
              <a:gd name="connsiteX0" fmla="*/ 6663449 w 12070798"/>
              <a:gd name="connsiteY0" fmla="*/ 3331179 h 6857999"/>
              <a:gd name="connsiteX1" fmla="*/ 6823901 w 12070798"/>
              <a:gd name="connsiteY1" fmla="*/ 3569208 h 6857999"/>
              <a:gd name="connsiteX2" fmla="*/ 6663449 w 12070798"/>
              <a:gd name="connsiteY2" fmla="*/ 3805650 h 6857999"/>
              <a:gd name="connsiteX3" fmla="*/ 6502997 w 12070798"/>
              <a:gd name="connsiteY3" fmla="*/ 3569208 h 6857999"/>
              <a:gd name="connsiteX4" fmla="*/ 6663449 w 12070798"/>
              <a:gd name="connsiteY4" fmla="*/ 3331179 h 6857999"/>
              <a:gd name="connsiteX5" fmla="*/ 4801318 w 12070798"/>
              <a:gd name="connsiteY5" fmla="*/ 3321648 h 6857999"/>
              <a:gd name="connsiteX6" fmla="*/ 4942962 w 12070798"/>
              <a:gd name="connsiteY6" fmla="*/ 3493220 h 6857999"/>
              <a:gd name="connsiteX7" fmla="*/ 4648535 w 12070798"/>
              <a:gd name="connsiteY7" fmla="*/ 3493220 h 6857999"/>
              <a:gd name="connsiteX8" fmla="*/ 4801318 w 12070798"/>
              <a:gd name="connsiteY8" fmla="*/ 3321648 h 6857999"/>
              <a:gd name="connsiteX9" fmla="*/ 8745359 w 12070798"/>
              <a:gd name="connsiteY9" fmla="*/ 3321648 h 6857999"/>
              <a:gd name="connsiteX10" fmla="*/ 8887001 w 12070798"/>
              <a:gd name="connsiteY10" fmla="*/ 3493220 h 6857999"/>
              <a:gd name="connsiteX11" fmla="*/ 8592575 w 12070798"/>
              <a:gd name="connsiteY11" fmla="*/ 3493220 h 6857999"/>
              <a:gd name="connsiteX12" fmla="*/ 8745359 w 12070798"/>
              <a:gd name="connsiteY12" fmla="*/ 3321648 h 6857999"/>
              <a:gd name="connsiteX13" fmla="*/ 8750401 w 12070798"/>
              <a:gd name="connsiteY13" fmla="*/ 3169139 h 6857999"/>
              <a:gd name="connsiteX14" fmla="*/ 8379699 w 12070798"/>
              <a:gd name="connsiteY14" fmla="*/ 3577147 h 6857999"/>
              <a:gd name="connsiteX15" fmla="*/ 8794949 w 12070798"/>
              <a:gd name="connsiteY15" fmla="*/ 3967690 h 6857999"/>
              <a:gd name="connsiteX16" fmla="*/ 9043144 w 12070798"/>
              <a:gd name="connsiteY16" fmla="*/ 3926413 h 6857999"/>
              <a:gd name="connsiteX17" fmla="*/ 9052690 w 12070798"/>
              <a:gd name="connsiteY17" fmla="*/ 3766068 h 6857999"/>
              <a:gd name="connsiteX18" fmla="*/ 8820405 w 12070798"/>
              <a:gd name="connsiteY18" fmla="*/ 3805758 h 6857999"/>
              <a:gd name="connsiteX19" fmla="*/ 8592892 w 12070798"/>
              <a:gd name="connsiteY19" fmla="*/ 3637474 h 6857999"/>
              <a:gd name="connsiteX20" fmla="*/ 9086101 w 12070798"/>
              <a:gd name="connsiteY20" fmla="*/ 3637474 h 6857999"/>
              <a:gd name="connsiteX21" fmla="*/ 9092465 w 12070798"/>
              <a:gd name="connsiteY21" fmla="*/ 3550157 h 6857999"/>
              <a:gd name="connsiteX22" fmla="*/ 8750401 w 12070798"/>
              <a:gd name="connsiteY22" fmla="*/ 3169139 h 6857999"/>
              <a:gd name="connsiteX23" fmla="*/ 7505383 w 12070798"/>
              <a:gd name="connsiteY23" fmla="*/ 3169139 h 6857999"/>
              <a:gd name="connsiteX24" fmla="*/ 7274696 w 12070798"/>
              <a:gd name="connsiteY24" fmla="*/ 3216798 h 6857999"/>
              <a:gd name="connsiteX25" fmla="*/ 7168103 w 12070798"/>
              <a:gd name="connsiteY25" fmla="*/ 3185025 h 6857999"/>
              <a:gd name="connsiteX26" fmla="*/ 7168103 w 12070798"/>
              <a:gd name="connsiteY26" fmla="*/ 3947568 h 6857999"/>
              <a:gd name="connsiteX27" fmla="*/ 7373335 w 12070798"/>
              <a:gd name="connsiteY27" fmla="*/ 3947568 h 6857999"/>
              <a:gd name="connsiteX28" fmla="*/ 7373335 w 12070798"/>
              <a:gd name="connsiteY28" fmla="*/ 3364541 h 6857999"/>
              <a:gd name="connsiteX29" fmla="*/ 7481519 w 12070798"/>
              <a:gd name="connsiteY29" fmla="*/ 3337534 h 6857999"/>
              <a:gd name="connsiteX30" fmla="*/ 7615158 w 12070798"/>
              <a:gd name="connsiteY30" fmla="*/ 3486865 h 6857999"/>
              <a:gd name="connsiteX31" fmla="*/ 7615158 w 12070798"/>
              <a:gd name="connsiteY31" fmla="*/ 3947568 h 6857999"/>
              <a:gd name="connsiteX32" fmla="*/ 7820390 w 12070798"/>
              <a:gd name="connsiteY32" fmla="*/ 3947568 h 6857999"/>
              <a:gd name="connsiteX33" fmla="*/ 7820390 w 12070798"/>
              <a:gd name="connsiteY33" fmla="*/ 3485277 h 6857999"/>
              <a:gd name="connsiteX34" fmla="*/ 7810844 w 12070798"/>
              <a:gd name="connsiteY34" fmla="*/ 3374072 h 6857999"/>
              <a:gd name="connsiteX35" fmla="*/ 7926983 w 12070798"/>
              <a:gd name="connsiteY35" fmla="*/ 3337534 h 6857999"/>
              <a:gd name="connsiteX36" fmla="*/ 8054259 w 12070798"/>
              <a:gd name="connsiteY36" fmla="*/ 3483688 h 6857999"/>
              <a:gd name="connsiteX37" fmla="*/ 8054259 w 12070798"/>
              <a:gd name="connsiteY37" fmla="*/ 3947568 h 6857999"/>
              <a:gd name="connsiteX38" fmla="*/ 8261081 w 12070798"/>
              <a:gd name="connsiteY38" fmla="*/ 3947568 h 6857999"/>
              <a:gd name="connsiteX39" fmla="*/ 8261081 w 12070798"/>
              <a:gd name="connsiteY39" fmla="*/ 3474156 h 6857999"/>
              <a:gd name="connsiteX40" fmla="*/ 7966757 w 12070798"/>
              <a:gd name="connsiteY40" fmla="*/ 3169139 h 6857999"/>
              <a:gd name="connsiteX41" fmla="*/ 7724933 w 12070798"/>
              <a:gd name="connsiteY41" fmla="*/ 3227918 h 6857999"/>
              <a:gd name="connsiteX42" fmla="*/ 7505383 w 12070798"/>
              <a:gd name="connsiteY42" fmla="*/ 3169139 h 6857999"/>
              <a:gd name="connsiteX43" fmla="*/ 6662920 w 12070798"/>
              <a:gd name="connsiteY43" fmla="*/ 3169139 h 6857999"/>
              <a:gd name="connsiteX44" fmla="*/ 6282707 w 12070798"/>
              <a:gd name="connsiteY44" fmla="*/ 3569208 h 6857999"/>
              <a:gd name="connsiteX45" fmla="*/ 6662920 w 12070798"/>
              <a:gd name="connsiteY45" fmla="*/ 3967690 h 6857999"/>
              <a:gd name="connsiteX46" fmla="*/ 7043131 w 12070798"/>
              <a:gd name="connsiteY46" fmla="*/ 3569208 h 6857999"/>
              <a:gd name="connsiteX47" fmla="*/ 6662920 w 12070798"/>
              <a:gd name="connsiteY47" fmla="*/ 3169139 h 6857999"/>
              <a:gd name="connsiteX48" fmla="*/ 5988617 w 12070798"/>
              <a:gd name="connsiteY48" fmla="*/ 3169139 h 6857999"/>
              <a:gd name="connsiteX49" fmla="*/ 5603832 w 12070798"/>
              <a:gd name="connsiteY49" fmla="*/ 3577146 h 6857999"/>
              <a:gd name="connsiteX50" fmla="*/ 5985437 w 12070798"/>
              <a:gd name="connsiteY50" fmla="*/ 3967690 h 6857999"/>
              <a:gd name="connsiteX51" fmla="*/ 6201678 w 12070798"/>
              <a:gd name="connsiteY51" fmla="*/ 3924826 h 6857999"/>
              <a:gd name="connsiteX52" fmla="*/ 6212808 w 12070798"/>
              <a:gd name="connsiteY52" fmla="*/ 3750192 h 6857999"/>
              <a:gd name="connsiteX53" fmla="*/ 6014056 w 12070798"/>
              <a:gd name="connsiteY53" fmla="*/ 3797819 h 6857999"/>
              <a:gd name="connsiteX54" fmla="*/ 5834385 w 12070798"/>
              <a:gd name="connsiteY54" fmla="*/ 3577146 h 6857999"/>
              <a:gd name="connsiteX55" fmla="*/ 6022006 w 12070798"/>
              <a:gd name="connsiteY55" fmla="*/ 3337422 h 6857999"/>
              <a:gd name="connsiteX56" fmla="*/ 6204858 w 12070798"/>
              <a:gd name="connsiteY56" fmla="*/ 3385050 h 6857999"/>
              <a:gd name="connsiteX57" fmla="*/ 6190548 w 12070798"/>
              <a:gd name="connsiteY57" fmla="*/ 3210416 h 6857999"/>
              <a:gd name="connsiteX58" fmla="*/ 5988617 w 12070798"/>
              <a:gd name="connsiteY58" fmla="*/ 3169139 h 6857999"/>
              <a:gd name="connsiteX59" fmla="*/ 4806615 w 12070798"/>
              <a:gd name="connsiteY59" fmla="*/ 3169139 h 6857999"/>
              <a:gd name="connsiteX60" fmla="*/ 4434600 w 12070798"/>
              <a:gd name="connsiteY60" fmla="*/ 3577147 h 6857999"/>
              <a:gd name="connsiteX61" fmla="*/ 4849541 w 12070798"/>
              <a:gd name="connsiteY61" fmla="*/ 3967690 h 6857999"/>
              <a:gd name="connsiteX62" fmla="*/ 5099141 w 12070798"/>
              <a:gd name="connsiteY62" fmla="*/ 3926413 h 6857999"/>
              <a:gd name="connsiteX63" fmla="*/ 5108680 w 12070798"/>
              <a:gd name="connsiteY63" fmla="*/ 3766068 h 6857999"/>
              <a:gd name="connsiteX64" fmla="*/ 4876567 w 12070798"/>
              <a:gd name="connsiteY64" fmla="*/ 3805758 h 6857999"/>
              <a:gd name="connsiteX65" fmla="*/ 4649224 w 12070798"/>
              <a:gd name="connsiteY65" fmla="*/ 3637474 h 6857999"/>
              <a:gd name="connsiteX66" fmla="*/ 5142066 w 12070798"/>
              <a:gd name="connsiteY66" fmla="*/ 3637474 h 6857999"/>
              <a:gd name="connsiteX67" fmla="*/ 5148425 w 12070798"/>
              <a:gd name="connsiteY67" fmla="*/ 3550157 h 6857999"/>
              <a:gd name="connsiteX68" fmla="*/ 4806615 w 12070798"/>
              <a:gd name="connsiteY68" fmla="*/ 3169139 h 6857999"/>
              <a:gd name="connsiteX69" fmla="*/ 3091678 w 12070798"/>
              <a:gd name="connsiteY69" fmla="*/ 2902250 h 6857999"/>
              <a:gd name="connsiteX70" fmla="*/ 3308791 w 12070798"/>
              <a:gd name="connsiteY70" fmla="*/ 3947568 h 6857999"/>
              <a:gd name="connsiteX71" fmla="*/ 3594744 w 12070798"/>
              <a:gd name="connsiteY71" fmla="*/ 3947568 h 6857999"/>
              <a:gd name="connsiteX72" fmla="*/ 3750430 w 12070798"/>
              <a:gd name="connsiteY72" fmla="*/ 3264457 h 6857999"/>
              <a:gd name="connsiteX73" fmla="*/ 3905057 w 12070798"/>
              <a:gd name="connsiteY73" fmla="*/ 3947568 h 6857999"/>
              <a:gd name="connsiteX74" fmla="*/ 4193129 w 12070798"/>
              <a:gd name="connsiteY74" fmla="*/ 3947568 h 6857999"/>
              <a:gd name="connsiteX75" fmla="*/ 4409182 w 12070798"/>
              <a:gd name="connsiteY75" fmla="*/ 2902250 h 6857999"/>
              <a:gd name="connsiteX76" fmla="*/ 4200541 w 12070798"/>
              <a:gd name="connsiteY76" fmla="*/ 2902250 h 6857999"/>
              <a:gd name="connsiteX77" fmla="*/ 4044856 w 12070798"/>
              <a:gd name="connsiteY77" fmla="*/ 3703978 h 6857999"/>
              <a:gd name="connsiteX78" fmla="*/ 3870107 w 12070798"/>
              <a:gd name="connsiteY78" fmla="*/ 2902250 h 6857999"/>
              <a:gd name="connsiteX79" fmla="*/ 3644522 w 12070798"/>
              <a:gd name="connsiteY79" fmla="*/ 2902250 h 6857999"/>
              <a:gd name="connsiteX80" fmla="*/ 3469773 w 12070798"/>
              <a:gd name="connsiteY80" fmla="*/ 3707155 h 6857999"/>
              <a:gd name="connsiteX81" fmla="*/ 3314087 w 12070798"/>
              <a:gd name="connsiteY81" fmla="*/ 2902250 h 6857999"/>
              <a:gd name="connsiteX82" fmla="*/ 5479919 w 12070798"/>
              <a:gd name="connsiteY82" fmla="*/ 2794224 h 6857999"/>
              <a:gd name="connsiteX83" fmla="*/ 5273397 w 12070798"/>
              <a:gd name="connsiteY83" fmla="*/ 2817524 h 6857999"/>
              <a:gd name="connsiteX84" fmla="*/ 5273397 w 12070798"/>
              <a:gd name="connsiteY84" fmla="*/ 3947569 h 6857999"/>
              <a:gd name="connsiteX85" fmla="*/ 5479919 w 12070798"/>
              <a:gd name="connsiteY85" fmla="*/ 3947569 h 6857999"/>
              <a:gd name="connsiteX86" fmla="*/ 2496471 w 12070798"/>
              <a:gd name="connsiteY86" fmla="*/ 2568638 h 6857999"/>
              <a:gd name="connsiteX87" fmla="*/ 2305836 w 12070798"/>
              <a:gd name="connsiteY87" fmla="*/ 3424909 h 6857999"/>
              <a:gd name="connsiteX88" fmla="*/ 2496471 w 12070798"/>
              <a:gd name="connsiteY88" fmla="*/ 4281181 h 6857999"/>
              <a:gd name="connsiteX89" fmla="*/ 2725234 w 12070798"/>
              <a:gd name="connsiteY89" fmla="*/ 4174743 h 6857999"/>
              <a:gd name="connsiteX90" fmla="*/ 2560016 w 12070798"/>
              <a:gd name="connsiteY90" fmla="*/ 3424909 h 6857999"/>
              <a:gd name="connsiteX91" fmla="*/ 2725234 w 12070798"/>
              <a:gd name="connsiteY91" fmla="*/ 2675076 h 6857999"/>
              <a:gd name="connsiteX92" fmla="*/ 2496471 w 12070798"/>
              <a:gd name="connsiteY92" fmla="*/ 2568638 h 6857999"/>
              <a:gd name="connsiteX93" fmla="*/ 9021583 w 12070798"/>
              <a:gd name="connsiteY93" fmla="*/ 1764791 h 6857999"/>
              <a:gd name="connsiteX94" fmla="*/ 8875352 w 12070798"/>
              <a:gd name="connsiteY94" fmla="*/ 1972902 h 6857999"/>
              <a:gd name="connsiteX95" fmla="*/ 9631937 w 12070798"/>
              <a:gd name="connsiteY95" fmla="*/ 3424909 h 6857999"/>
              <a:gd name="connsiteX96" fmla="*/ 8875352 w 12070798"/>
              <a:gd name="connsiteY96" fmla="*/ 4876918 h 6857999"/>
              <a:gd name="connsiteX97" fmla="*/ 9021583 w 12070798"/>
              <a:gd name="connsiteY97" fmla="*/ 5085028 h 6857999"/>
              <a:gd name="connsiteX98" fmla="*/ 9884662 w 12070798"/>
              <a:gd name="connsiteY98" fmla="*/ 3424909 h 6857999"/>
              <a:gd name="connsiteX99" fmla="*/ 9021583 w 12070798"/>
              <a:gd name="connsiteY99" fmla="*/ 1764791 h 6857999"/>
              <a:gd name="connsiteX100" fmla="*/ 0 w 12070798"/>
              <a:gd name="connsiteY100" fmla="*/ 0 h 6857999"/>
              <a:gd name="connsiteX101" fmla="*/ 12070798 w 12070798"/>
              <a:gd name="connsiteY101" fmla="*/ 0 h 6857999"/>
              <a:gd name="connsiteX102" fmla="*/ 12070798 w 12070798"/>
              <a:gd name="connsiteY102" fmla="*/ 6857999 h 6857999"/>
              <a:gd name="connsiteX103" fmla="*/ 0 w 12070798"/>
              <a:gd name="connsiteY10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2070798" h="6857999">
                <a:moveTo>
                  <a:pt x="6663449" y="3331179"/>
                </a:moveTo>
                <a:cubicBezTo>
                  <a:pt x="6761944" y="3331179"/>
                  <a:pt x="6823901" y="3389893"/>
                  <a:pt x="6823901" y="3569208"/>
                </a:cubicBezTo>
                <a:cubicBezTo>
                  <a:pt x="6823901" y="3745349"/>
                  <a:pt x="6761944" y="3805650"/>
                  <a:pt x="6663449" y="3805650"/>
                </a:cubicBezTo>
                <a:cubicBezTo>
                  <a:pt x="6563365" y="3805650"/>
                  <a:pt x="6502997" y="3745349"/>
                  <a:pt x="6502997" y="3569208"/>
                </a:cubicBezTo>
                <a:cubicBezTo>
                  <a:pt x="6502997" y="3391480"/>
                  <a:pt x="6563365" y="3331179"/>
                  <a:pt x="6663449" y="3331179"/>
                </a:cubicBezTo>
                <a:close/>
                <a:moveTo>
                  <a:pt x="4801318" y="3321648"/>
                </a:moveTo>
                <a:cubicBezTo>
                  <a:pt x="4895217" y="3321648"/>
                  <a:pt x="4941371" y="3391547"/>
                  <a:pt x="4942962" y="3493220"/>
                </a:cubicBezTo>
                <a:cubicBezTo>
                  <a:pt x="4942962" y="3493220"/>
                  <a:pt x="4942962" y="3493220"/>
                  <a:pt x="4648535" y="3493220"/>
                </a:cubicBezTo>
                <a:cubicBezTo>
                  <a:pt x="4662859" y="3382016"/>
                  <a:pt x="4716969" y="3321648"/>
                  <a:pt x="4801318" y="3321648"/>
                </a:cubicBezTo>
                <a:close/>
                <a:moveTo>
                  <a:pt x="8745359" y="3321648"/>
                </a:moveTo>
                <a:cubicBezTo>
                  <a:pt x="8840848" y="3321648"/>
                  <a:pt x="8887001" y="3391547"/>
                  <a:pt x="8887001" y="3493220"/>
                </a:cubicBezTo>
                <a:cubicBezTo>
                  <a:pt x="8887001" y="3493220"/>
                  <a:pt x="8887001" y="3493220"/>
                  <a:pt x="8592575" y="3493220"/>
                </a:cubicBezTo>
                <a:cubicBezTo>
                  <a:pt x="8608490" y="3382016"/>
                  <a:pt x="8661009" y="3321648"/>
                  <a:pt x="8745359" y="3321648"/>
                </a:cubicBezTo>
                <a:close/>
                <a:moveTo>
                  <a:pt x="8750401" y="3169139"/>
                </a:moveTo>
                <a:cubicBezTo>
                  <a:pt x="8532434" y="3169139"/>
                  <a:pt x="8379699" y="3305671"/>
                  <a:pt x="8379699" y="3577147"/>
                </a:cubicBezTo>
                <a:cubicBezTo>
                  <a:pt x="8379699" y="3856560"/>
                  <a:pt x="8537208" y="3967690"/>
                  <a:pt x="8794949" y="3967690"/>
                </a:cubicBezTo>
                <a:cubicBezTo>
                  <a:pt x="8885636" y="3967690"/>
                  <a:pt x="8966776" y="3953402"/>
                  <a:pt x="9043144" y="3926413"/>
                </a:cubicBezTo>
                <a:cubicBezTo>
                  <a:pt x="9043144" y="3926413"/>
                  <a:pt x="9043144" y="3926413"/>
                  <a:pt x="9052690" y="3766068"/>
                </a:cubicBezTo>
                <a:cubicBezTo>
                  <a:pt x="8990641" y="3786707"/>
                  <a:pt x="8912682" y="3805758"/>
                  <a:pt x="8820405" y="3805758"/>
                </a:cubicBezTo>
                <a:cubicBezTo>
                  <a:pt x="8691534" y="3805758"/>
                  <a:pt x="8615167" y="3766068"/>
                  <a:pt x="8592892" y="3637474"/>
                </a:cubicBezTo>
                <a:cubicBezTo>
                  <a:pt x="8592892" y="3637474"/>
                  <a:pt x="8592892" y="3637474"/>
                  <a:pt x="9086101" y="3637474"/>
                </a:cubicBezTo>
                <a:cubicBezTo>
                  <a:pt x="9087692" y="3618423"/>
                  <a:pt x="9092465" y="3591435"/>
                  <a:pt x="9092465" y="3550157"/>
                </a:cubicBezTo>
                <a:cubicBezTo>
                  <a:pt x="9092465" y="3318371"/>
                  <a:pt x="8984277" y="3169139"/>
                  <a:pt x="8750401" y="3169139"/>
                </a:cubicBezTo>
                <a:close/>
                <a:moveTo>
                  <a:pt x="7505383" y="3169139"/>
                </a:moveTo>
                <a:cubicBezTo>
                  <a:pt x="7430609" y="3169139"/>
                  <a:pt x="7351062" y="3188203"/>
                  <a:pt x="7274696" y="3216798"/>
                </a:cubicBezTo>
                <a:cubicBezTo>
                  <a:pt x="7274696" y="3216798"/>
                  <a:pt x="7274696" y="3216798"/>
                  <a:pt x="7168103" y="3185025"/>
                </a:cubicBezTo>
                <a:cubicBezTo>
                  <a:pt x="7168103" y="3185025"/>
                  <a:pt x="7168103" y="3185025"/>
                  <a:pt x="7168103" y="3947568"/>
                </a:cubicBezTo>
                <a:cubicBezTo>
                  <a:pt x="7168103" y="3947568"/>
                  <a:pt x="7168103" y="3947568"/>
                  <a:pt x="7373335" y="3947568"/>
                </a:cubicBezTo>
                <a:cubicBezTo>
                  <a:pt x="7373335" y="3947568"/>
                  <a:pt x="7373335" y="3947568"/>
                  <a:pt x="7373335" y="3364541"/>
                </a:cubicBezTo>
                <a:cubicBezTo>
                  <a:pt x="7401972" y="3347066"/>
                  <a:pt x="7441745" y="3337534"/>
                  <a:pt x="7481519" y="3337534"/>
                </a:cubicBezTo>
                <a:cubicBezTo>
                  <a:pt x="7576976" y="3337534"/>
                  <a:pt x="7615158" y="3386782"/>
                  <a:pt x="7615158" y="3486865"/>
                </a:cubicBezTo>
                <a:cubicBezTo>
                  <a:pt x="7615158" y="3486865"/>
                  <a:pt x="7615158" y="3486865"/>
                  <a:pt x="7615158" y="3947568"/>
                </a:cubicBezTo>
                <a:cubicBezTo>
                  <a:pt x="7615158" y="3947568"/>
                  <a:pt x="7615158" y="3947568"/>
                  <a:pt x="7820390" y="3947568"/>
                </a:cubicBezTo>
                <a:cubicBezTo>
                  <a:pt x="7820390" y="3947568"/>
                  <a:pt x="7820390" y="3947568"/>
                  <a:pt x="7820390" y="3485277"/>
                </a:cubicBezTo>
                <a:cubicBezTo>
                  <a:pt x="7820390" y="3443972"/>
                  <a:pt x="7818799" y="3407434"/>
                  <a:pt x="7810844" y="3374072"/>
                </a:cubicBezTo>
                <a:cubicBezTo>
                  <a:pt x="7852209" y="3348654"/>
                  <a:pt x="7890391" y="3337534"/>
                  <a:pt x="7926983" y="3337534"/>
                </a:cubicBezTo>
                <a:cubicBezTo>
                  <a:pt x="8016076" y="3337534"/>
                  <a:pt x="8054259" y="3389959"/>
                  <a:pt x="8054259" y="3483688"/>
                </a:cubicBezTo>
                <a:cubicBezTo>
                  <a:pt x="8054259" y="3483688"/>
                  <a:pt x="8054259" y="3483688"/>
                  <a:pt x="8054259" y="3947568"/>
                </a:cubicBezTo>
                <a:cubicBezTo>
                  <a:pt x="8054259" y="3947568"/>
                  <a:pt x="8054259" y="3947568"/>
                  <a:pt x="8261081" y="3947568"/>
                </a:cubicBezTo>
                <a:cubicBezTo>
                  <a:pt x="8261081" y="3947568"/>
                  <a:pt x="8261081" y="3947568"/>
                  <a:pt x="8261081" y="3474156"/>
                </a:cubicBezTo>
                <a:cubicBezTo>
                  <a:pt x="8261081" y="3264457"/>
                  <a:pt x="8154488" y="3169139"/>
                  <a:pt x="7966757" y="3169139"/>
                </a:cubicBezTo>
                <a:cubicBezTo>
                  <a:pt x="7877664" y="3169139"/>
                  <a:pt x="7796526" y="3191380"/>
                  <a:pt x="7724933" y="3227918"/>
                </a:cubicBezTo>
                <a:cubicBezTo>
                  <a:pt x="7670841" y="3186614"/>
                  <a:pt x="7597658" y="3169139"/>
                  <a:pt x="7505383" y="3169139"/>
                </a:cubicBezTo>
                <a:close/>
                <a:moveTo>
                  <a:pt x="6662920" y="3169139"/>
                </a:moveTo>
                <a:cubicBezTo>
                  <a:pt x="6435428" y="3169139"/>
                  <a:pt x="6282707" y="3299321"/>
                  <a:pt x="6282707" y="3569208"/>
                </a:cubicBezTo>
                <a:cubicBezTo>
                  <a:pt x="6282707" y="3839097"/>
                  <a:pt x="6435428" y="3967690"/>
                  <a:pt x="6662920" y="3967690"/>
                </a:cubicBezTo>
                <a:cubicBezTo>
                  <a:pt x="6890410" y="3967690"/>
                  <a:pt x="7043131" y="3839097"/>
                  <a:pt x="7043131" y="3569208"/>
                </a:cubicBezTo>
                <a:cubicBezTo>
                  <a:pt x="7043131" y="3300909"/>
                  <a:pt x="6890410" y="3169139"/>
                  <a:pt x="6662920" y="3169139"/>
                </a:cubicBezTo>
                <a:close/>
                <a:moveTo>
                  <a:pt x="5988617" y="3169139"/>
                </a:moveTo>
                <a:cubicBezTo>
                  <a:pt x="5746934" y="3169139"/>
                  <a:pt x="5603832" y="3315197"/>
                  <a:pt x="5603832" y="3577146"/>
                </a:cubicBezTo>
                <a:cubicBezTo>
                  <a:pt x="5603832" y="3858147"/>
                  <a:pt x="5748524" y="3967690"/>
                  <a:pt x="5985437" y="3967690"/>
                </a:cubicBezTo>
                <a:cubicBezTo>
                  <a:pt x="6061757" y="3967690"/>
                  <a:pt x="6126947" y="3958165"/>
                  <a:pt x="6201678" y="3924826"/>
                </a:cubicBezTo>
                <a:cubicBezTo>
                  <a:pt x="6201678" y="3924826"/>
                  <a:pt x="6201678" y="3924826"/>
                  <a:pt x="6212808" y="3750192"/>
                </a:cubicBezTo>
                <a:cubicBezTo>
                  <a:pt x="6150798" y="3780356"/>
                  <a:pt x="6080837" y="3797819"/>
                  <a:pt x="6014056" y="3797819"/>
                </a:cubicBezTo>
                <a:cubicBezTo>
                  <a:pt x="5910705" y="3797819"/>
                  <a:pt x="5834385" y="3740667"/>
                  <a:pt x="5834385" y="3577146"/>
                </a:cubicBezTo>
                <a:cubicBezTo>
                  <a:pt x="5834385" y="3400926"/>
                  <a:pt x="5909116" y="3337422"/>
                  <a:pt x="6022006" y="3337422"/>
                </a:cubicBezTo>
                <a:cubicBezTo>
                  <a:pt x="6080837" y="3337422"/>
                  <a:pt x="6146028" y="3356474"/>
                  <a:pt x="6204858" y="3385050"/>
                </a:cubicBezTo>
                <a:cubicBezTo>
                  <a:pt x="6204858" y="3385050"/>
                  <a:pt x="6204858" y="3385050"/>
                  <a:pt x="6190548" y="3210416"/>
                </a:cubicBezTo>
                <a:cubicBezTo>
                  <a:pt x="6117407" y="3181840"/>
                  <a:pt x="6056987" y="3169139"/>
                  <a:pt x="5988617" y="3169139"/>
                </a:cubicBezTo>
                <a:close/>
                <a:moveTo>
                  <a:pt x="4806615" y="3169139"/>
                </a:moveTo>
                <a:cubicBezTo>
                  <a:pt x="4587221" y="3169139"/>
                  <a:pt x="4434600" y="3305671"/>
                  <a:pt x="4434600" y="3577147"/>
                </a:cubicBezTo>
                <a:cubicBezTo>
                  <a:pt x="4434600" y="3856560"/>
                  <a:pt x="4591991" y="3967690"/>
                  <a:pt x="4849541" y="3967690"/>
                </a:cubicBezTo>
                <a:cubicBezTo>
                  <a:pt x="4940160" y="3967690"/>
                  <a:pt x="5022830" y="3953402"/>
                  <a:pt x="5099141" y="3926413"/>
                </a:cubicBezTo>
                <a:cubicBezTo>
                  <a:pt x="5099141" y="3926413"/>
                  <a:pt x="5099141" y="3926413"/>
                  <a:pt x="5108680" y="3766068"/>
                </a:cubicBezTo>
                <a:cubicBezTo>
                  <a:pt x="5045087" y="3786707"/>
                  <a:pt x="4967187" y="3805758"/>
                  <a:pt x="4876567" y="3805758"/>
                </a:cubicBezTo>
                <a:cubicBezTo>
                  <a:pt x="4746203" y="3805758"/>
                  <a:pt x="4669892" y="3766068"/>
                  <a:pt x="4649224" y="3637474"/>
                </a:cubicBezTo>
                <a:cubicBezTo>
                  <a:pt x="4649224" y="3637474"/>
                  <a:pt x="4649224" y="3637474"/>
                  <a:pt x="5142066" y="3637474"/>
                </a:cubicBezTo>
                <a:cubicBezTo>
                  <a:pt x="5143655" y="3618423"/>
                  <a:pt x="5148425" y="3591435"/>
                  <a:pt x="5148425" y="3550157"/>
                </a:cubicBezTo>
                <a:cubicBezTo>
                  <a:pt x="5148425" y="3318372"/>
                  <a:pt x="5038728" y="3169139"/>
                  <a:pt x="4806615" y="3169139"/>
                </a:cubicBezTo>
                <a:close/>
                <a:moveTo>
                  <a:pt x="3091678" y="2902250"/>
                </a:moveTo>
                <a:lnTo>
                  <a:pt x="3308791" y="3947568"/>
                </a:lnTo>
                <a:lnTo>
                  <a:pt x="3594744" y="3947568"/>
                </a:lnTo>
                <a:lnTo>
                  <a:pt x="3750430" y="3264457"/>
                </a:lnTo>
                <a:lnTo>
                  <a:pt x="3905057" y="3947568"/>
                </a:lnTo>
                <a:lnTo>
                  <a:pt x="4193129" y="3947568"/>
                </a:lnTo>
                <a:lnTo>
                  <a:pt x="4409182" y="2902250"/>
                </a:lnTo>
                <a:lnTo>
                  <a:pt x="4200541" y="2902250"/>
                </a:lnTo>
                <a:lnTo>
                  <a:pt x="4044856" y="3703978"/>
                </a:lnTo>
                <a:lnTo>
                  <a:pt x="3870107" y="2902250"/>
                </a:lnTo>
                <a:lnTo>
                  <a:pt x="3644522" y="2902250"/>
                </a:lnTo>
                <a:lnTo>
                  <a:pt x="3469773" y="3707155"/>
                </a:lnTo>
                <a:lnTo>
                  <a:pt x="3314087" y="2902250"/>
                </a:lnTo>
                <a:close/>
                <a:moveTo>
                  <a:pt x="5479919" y="2794224"/>
                </a:moveTo>
                <a:lnTo>
                  <a:pt x="5273397" y="2817524"/>
                </a:lnTo>
                <a:lnTo>
                  <a:pt x="5273397" y="3947569"/>
                </a:lnTo>
                <a:lnTo>
                  <a:pt x="5479919" y="3947569"/>
                </a:lnTo>
                <a:close/>
                <a:moveTo>
                  <a:pt x="2496471" y="2568638"/>
                </a:moveTo>
                <a:cubicBezTo>
                  <a:pt x="2374147" y="2827585"/>
                  <a:pt x="2305836" y="3118304"/>
                  <a:pt x="2305836" y="3424909"/>
                </a:cubicBezTo>
                <a:cubicBezTo>
                  <a:pt x="2305836" y="3731515"/>
                  <a:pt x="2374147" y="4022234"/>
                  <a:pt x="2496471" y="4281181"/>
                </a:cubicBezTo>
                <a:cubicBezTo>
                  <a:pt x="2725234" y="4174743"/>
                  <a:pt x="2725234" y="4174743"/>
                  <a:pt x="2725234" y="4174743"/>
                </a:cubicBezTo>
                <a:cubicBezTo>
                  <a:pt x="2618796" y="3947569"/>
                  <a:pt x="2560016" y="3693388"/>
                  <a:pt x="2560016" y="3424909"/>
                </a:cubicBezTo>
                <a:cubicBezTo>
                  <a:pt x="2560016" y="3156432"/>
                  <a:pt x="2618796" y="2902250"/>
                  <a:pt x="2725234" y="2675076"/>
                </a:cubicBezTo>
                <a:cubicBezTo>
                  <a:pt x="2496471" y="2568638"/>
                  <a:pt x="2496471" y="2568638"/>
                  <a:pt x="2496471" y="2568638"/>
                </a:cubicBezTo>
                <a:close/>
                <a:moveTo>
                  <a:pt x="9021583" y="1764791"/>
                </a:moveTo>
                <a:cubicBezTo>
                  <a:pt x="8875352" y="1972902"/>
                  <a:pt x="8875352" y="1972902"/>
                  <a:pt x="8875352" y="1972902"/>
                </a:cubicBezTo>
                <a:cubicBezTo>
                  <a:pt x="9333118" y="2293805"/>
                  <a:pt x="9631937" y="2824407"/>
                  <a:pt x="9631937" y="3424909"/>
                </a:cubicBezTo>
                <a:cubicBezTo>
                  <a:pt x="9631937" y="4025412"/>
                  <a:pt x="9333118" y="4556014"/>
                  <a:pt x="8875352" y="4876918"/>
                </a:cubicBezTo>
                <a:cubicBezTo>
                  <a:pt x="9021583" y="5085028"/>
                  <a:pt x="9021583" y="5085028"/>
                  <a:pt x="9021583" y="5085028"/>
                </a:cubicBezTo>
                <a:cubicBezTo>
                  <a:pt x="9542927" y="4718054"/>
                  <a:pt x="9884662" y="4111198"/>
                  <a:pt x="9884662" y="3424909"/>
                </a:cubicBezTo>
                <a:cubicBezTo>
                  <a:pt x="9884662" y="2738621"/>
                  <a:pt x="9542927" y="2131764"/>
                  <a:pt x="9021583" y="1764791"/>
                </a:cubicBezTo>
                <a:close/>
                <a:moveTo>
                  <a:pt x="0" y="0"/>
                </a:moveTo>
                <a:lnTo>
                  <a:pt x="12070798" y="0"/>
                </a:lnTo>
                <a:lnTo>
                  <a:pt x="12070798"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grpSp>
        <p:nvGrpSpPr>
          <p:cNvPr id="5" name="Group 4">
            <a:extLst>
              <a:ext uri="{FF2B5EF4-FFF2-40B4-BE49-F238E27FC236}">
                <a16:creationId xmlns:a16="http://schemas.microsoft.com/office/drawing/2014/main" id="{224E3A2E-8ACE-42B5-8B14-BF5235EB29EE}"/>
              </a:ext>
            </a:extLst>
          </p:cNvPr>
          <p:cNvGrpSpPr/>
          <p:nvPr userDrawn="1"/>
        </p:nvGrpSpPr>
        <p:grpSpPr>
          <a:xfrm>
            <a:off x="12073965" y="-3096"/>
            <a:ext cx="127000" cy="6858000"/>
            <a:chOff x="12073965" y="-3096"/>
            <a:chExt cx="127000" cy="6096000"/>
          </a:xfrm>
        </p:grpSpPr>
        <p:sp>
          <p:nvSpPr>
            <p:cNvPr id="6" name="Freeform: Shape 5">
              <a:extLst>
                <a:ext uri="{FF2B5EF4-FFF2-40B4-BE49-F238E27FC236}">
                  <a16:creationId xmlns:a16="http://schemas.microsoft.com/office/drawing/2014/main" id="{C54FBEB4-5705-4943-BC4D-C1F7EE49A99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7" name="Freeform: Shape 6">
              <a:extLst>
                <a:ext uri="{FF2B5EF4-FFF2-40B4-BE49-F238E27FC236}">
                  <a16:creationId xmlns:a16="http://schemas.microsoft.com/office/drawing/2014/main" id="{DB690048-70AE-475B-A6D0-66855AA459C4}"/>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9" name="Freeform: Shape 8">
              <a:extLst>
                <a:ext uri="{FF2B5EF4-FFF2-40B4-BE49-F238E27FC236}">
                  <a16:creationId xmlns:a16="http://schemas.microsoft.com/office/drawing/2014/main" id="{6D2C339F-F5F0-4F4F-A5C8-123DA48D452B}"/>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0" name="Freeform: Shape 9">
              <a:extLst>
                <a:ext uri="{FF2B5EF4-FFF2-40B4-BE49-F238E27FC236}">
                  <a16:creationId xmlns:a16="http://schemas.microsoft.com/office/drawing/2014/main" id="{37ACEE09-988B-4E32-A4EE-56BE2F7D13B2}"/>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1" name="Freeform: Shape 10">
              <a:extLst>
                <a:ext uri="{FF2B5EF4-FFF2-40B4-BE49-F238E27FC236}">
                  <a16:creationId xmlns:a16="http://schemas.microsoft.com/office/drawing/2014/main" id="{75E600B1-368F-4AFF-840E-CCB2C2D79EA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A71EA16A-8505-416A-8789-57BE4700149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6D7EB991-79FE-4AB4-95BB-48E7ECE88F60}"/>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54126114-1378-4FEF-AC56-F35F8119FB82}"/>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0E88BAC7-6C93-454A-8579-DF8F4EC01387}"/>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77719383-69D8-4F12-AEE2-A346194B1D1F}"/>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BD7A2322-7358-4779-A8E4-A7A571B42F5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AB119983-3AFD-4C4C-AD94-80239BF7A79F}"/>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AFC13726-D253-462A-9296-185F915649EF}"/>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9ACD8737-71D3-4EE5-811D-F6D25F4AA670}"/>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55D29FF3-7D1F-4615-A2C8-5B9464CA841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ED236FBC-B35A-4851-B06E-0C24A2647DE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35231158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3"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311628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3"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7"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3</a:t>
            </a:r>
            <a:endParaRPr lang="en-GB" dirty="0"/>
          </a:p>
        </p:txBody>
      </p:sp>
    </p:spTree>
    <p:extLst>
      <p:ext uri="{BB962C8B-B14F-4D97-AF65-F5344CB8AC3E}">
        <p14:creationId xmlns:p14="http://schemas.microsoft.com/office/powerpoint/2010/main" val="49006087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988851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3201600"/>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628883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8137478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784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7502455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100898016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7418620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picture">
    <p:bg>
      <p:bgPr>
        <a:solidFill>
          <a:schemeClr val="bg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115311" y="91025"/>
            <a:ext cx="1888312" cy="1847974"/>
          </a:xfrm>
          <a:prstGeom prst="rect">
            <a:avLst/>
          </a:prstGeom>
        </p:spPr>
      </p:pic>
      <p:sp>
        <p:nvSpPr>
          <p:cNvPr id="61" name="Picture Placeholder 60">
            <a:extLst>
              <a:ext uri="{FF2B5EF4-FFF2-40B4-BE49-F238E27FC236}">
                <a16:creationId xmlns:a16="http://schemas.microsoft.com/office/drawing/2014/main" id="{45E5E7DA-1E99-441A-841C-ED8D047A3142}"/>
              </a:ext>
            </a:extLst>
          </p:cNvPr>
          <p:cNvSpPr>
            <a:spLocks noGrp="1"/>
          </p:cNvSpPr>
          <p:nvPr>
            <p:ph type="pic" sz="quarter" idx="14" hasCustomPrompt="1"/>
          </p:nvPr>
        </p:nvSpPr>
        <p:spPr>
          <a:xfrm>
            <a:off x="1" y="0"/>
            <a:ext cx="12103100" cy="6890657"/>
          </a:xfrm>
          <a:custGeom>
            <a:avLst/>
            <a:gdLst>
              <a:gd name="connsiteX0" fmla="*/ 10637654 w 12073965"/>
              <a:gd name="connsiteY0" fmla="*/ 1206076 h 6858000"/>
              <a:gd name="connsiteX1" fmla="*/ 10579711 w 12073965"/>
              <a:gd name="connsiteY1" fmla="*/ 1233121 h 6858000"/>
              <a:gd name="connsiteX2" fmla="*/ 11043258 w 12073965"/>
              <a:gd name="connsiteY2" fmla="*/ 1528067 h 6858000"/>
              <a:gd name="connsiteX3" fmla="*/ 11506805 w 12073965"/>
              <a:gd name="connsiteY3" fmla="*/ 1233121 h 6858000"/>
              <a:gd name="connsiteX4" fmla="*/ 11448862 w 12073965"/>
              <a:gd name="connsiteY4" fmla="*/ 1206076 h 6858000"/>
              <a:gd name="connsiteX5" fmla="*/ 11043258 w 12073965"/>
              <a:gd name="connsiteY5" fmla="*/ 1464114 h 6858000"/>
              <a:gd name="connsiteX6" fmla="*/ 10637654 w 12073965"/>
              <a:gd name="connsiteY6" fmla="*/ 1206076 h 6858000"/>
              <a:gd name="connsiteX7" fmla="*/ 11373556 w 12073965"/>
              <a:gd name="connsiteY7" fmla="*/ 1029296 h 6858000"/>
              <a:gd name="connsiteX8" fmla="*/ 11373556 w 12073965"/>
              <a:gd name="connsiteY8" fmla="*/ 1072273 h 6858000"/>
              <a:gd name="connsiteX9" fmla="*/ 11347339 w 12073965"/>
              <a:gd name="connsiteY9" fmla="*/ 1074820 h 6858000"/>
              <a:gd name="connsiteX10" fmla="*/ 11314408 w 12073965"/>
              <a:gd name="connsiteY10" fmla="*/ 1051581 h 6858000"/>
              <a:gd name="connsiteX11" fmla="*/ 11343183 w 12073965"/>
              <a:gd name="connsiteY11" fmla="*/ 1031206 h 6858000"/>
              <a:gd name="connsiteX12" fmla="*/ 11373556 w 12073965"/>
              <a:gd name="connsiteY12" fmla="*/ 1029296 h 6858000"/>
              <a:gd name="connsiteX13" fmla="*/ 10772440 w 12073965"/>
              <a:gd name="connsiteY13" fmla="*/ 1029296 h 6858000"/>
              <a:gd name="connsiteX14" fmla="*/ 10772440 w 12073965"/>
              <a:gd name="connsiteY14" fmla="*/ 1072273 h 6858000"/>
              <a:gd name="connsiteX15" fmla="*/ 10746371 w 12073965"/>
              <a:gd name="connsiteY15" fmla="*/ 1074820 h 6858000"/>
              <a:gd name="connsiteX16" fmla="*/ 10713625 w 12073965"/>
              <a:gd name="connsiteY16" fmla="*/ 1051581 h 6858000"/>
              <a:gd name="connsiteX17" fmla="*/ 10742238 w 12073965"/>
              <a:gd name="connsiteY17" fmla="*/ 1031206 h 6858000"/>
              <a:gd name="connsiteX18" fmla="*/ 10772440 w 12073965"/>
              <a:gd name="connsiteY18" fmla="*/ 1029296 h 6858000"/>
              <a:gd name="connsiteX19" fmla="*/ 10945198 w 12073965"/>
              <a:gd name="connsiteY19" fmla="*/ 960845 h 6858000"/>
              <a:gd name="connsiteX20" fmla="*/ 10988098 w 12073965"/>
              <a:gd name="connsiteY20" fmla="*/ 1017334 h 6858000"/>
              <a:gd name="connsiteX21" fmla="*/ 10945198 w 12073965"/>
              <a:gd name="connsiteY21" fmla="*/ 1073824 h 6858000"/>
              <a:gd name="connsiteX22" fmla="*/ 10915326 w 12073965"/>
              <a:gd name="connsiteY22" fmla="*/ 1070015 h 6858000"/>
              <a:gd name="connsiteX23" fmla="*/ 10915326 w 12073965"/>
              <a:gd name="connsiteY23" fmla="*/ 964970 h 6858000"/>
              <a:gd name="connsiteX24" fmla="*/ 10945198 w 12073965"/>
              <a:gd name="connsiteY24" fmla="*/ 960845 h 6858000"/>
              <a:gd name="connsiteX25" fmla="*/ 11158645 w 12073965"/>
              <a:gd name="connsiteY25" fmla="*/ 915321 h 6858000"/>
              <a:gd name="connsiteX26" fmla="*/ 11069509 w 12073965"/>
              <a:gd name="connsiteY26" fmla="*/ 982058 h 6858000"/>
              <a:gd name="connsiteX27" fmla="*/ 11139226 w 12073965"/>
              <a:gd name="connsiteY27" fmla="*/ 1035766 h 6858000"/>
              <a:gd name="connsiteX28" fmla="*/ 11182202 w 12073965"/>
              <a:gd name="connsiteY28" fmla="*/ 1054198 h 6858000"/>
              <a:gd name="connsiteX29" fmla="*/ 11142091 w 12073965"/>
              <a:gd name="connsiteY29" fmla="*/ 1073902 h 6858000"/>
              <a:gd name="connsiteX30" fmla="*/ 11073966 w 12073965"/>
              <a:gd name="connsiteY30" fmla="*/ 1064051 h 6858000"/>
              <a:gd name="connsiteX31" fmla="*/ 11078104 w 12073965"/>
              <a:gd name="connsiteY31" fmla="*/ 1108225 h 6858000"/>
              <a:gd name="connsiteX32" fmla="*/ 11146230 w 12073965"/>
              <a:gd name="connsiteY32" fmla="*/ 1119347 h 6858000"/>
              <a:gd name="connsiteX33" fmla="*/ 11236320 w 12073965"/>
              <a:gd name="connsiteY33" fmla="*/ 1054516 h 6858000"/>
              <a:gd name="connsiteX34" fmla="*/ 11160555 w 12073965"/>
              <a:gd name="connsiteY34" fmla="*/ 993817 h 6858000"/>
              <a:gd name="connsiteX35" fmla="*/ 11123309 w 12073965"/>
              <a:gd name="connsiteY35" fmla="*/ 980469 h 6858000"/>
              <a:gd name="connsiteX36" fmla="*/ 11162465 w 12073965"/>
              <a:gd name="connsiteY36" fmla="*/ 960765 h 6858000"/>
              <a:gd name="connsiteX37" fmla="*/ 11221358 w 12073965"/>
              <a:gd name="connsiteY37" fmla="*/ 968076 h 6858000"/>
              <a:gd name="connsiteX38" fmla="*/ 11217220 w 12073965"/>
              <a:gd name="connsiteY38" fmla="*/ 924219 h 6858000"/>
              <a:gd name="connsiteX39" fmla="*/ 11158645 w 12073965"/>
              <a:gd name="connsiteY39" fmla="*/ 915321 h 6858000"/>
              <a:gd name="connsiteX40" fmla="*/ 11340156 w 12073965"/>
              <a:gd name="connsiteY40" fmla="*/ 915320 h 6858000"/>
              <a:gd name="connsiteX41" fmla="*/ 11279676 w 12073965"/>
              <a:gd name="connsiteY41" fmla="*/ 924218 h 6858000"/>
              <a:gd name="connsiteX42" fmla="*/ 11275538 w 12073965"/>
              <a:gd name="connsiteY42" fmla="*/ 968075 h 6858000"/>
              <a:gd name="connsiteX43" fmla="*/ 11334426 w 12073965"/>
              <a:gd name="connsiteY43" fmla="*/ 960765 h 6858000"/>
              <a:gd name="connsiteX44" fmla="*/ 11373578 w 12073965"/>
              <a:gd name="connsiteY44" fmla="*/ 985554 h 6858000"/>
              <a:gd name="connsiteX45" fmla="*/ 11373578 w 12073965"/>
              <a:gd name="connsiteY45" fmla="*/ 991910 h 6858000"/>
              <a:gd name="connsiteX46" fmla="*/ 11336336 w 12073965"/>
              <a:gd name="connsiteY46" fmla="*/ 993817 h 6858000"/>
              <a:gd name="connsiteX47" fmla="*/ 11260577 w 12073965"/>
              <a:gd name="connsiteY47" fmla="*/ 1054516 h 6858000"/>
              <a:gd name="connsiteX48" fmla="*/ 11346204 w 12073965"/>
              <a:gd name="connsiteY48" fmla="*/ 1119347 h 6858000"/>
              <a:gd name="connsiteX49" fmla="*/ 11427055 w 12073965"/>
              <a:gd name="connsiteY49" fmla="*/ 1106000 h 6858000"/>
              <a:gd name="connsiteX50" fmla="*/ 11427055 w 12073965"/>
              <a:gd name="connsiteY50" fmla="*/ 982058 h 6858000"/>
              <a:gd name="connsiteX51" fmla="*/ 11340156 w 12073965"/>
              <a:gd name="connsiteY51" fmla="*/ 915320 h 6858000"/>
              <a:gd name="connsiteX52" fmla="*/ 10739040 w 12073965"/>
              <a:gd name="connsiteY52" fmla="*/ 915320 h 6858000"/>
              <a:gd name="connsiteX53" fmla="*/ 10678560 w 12073965"/>
              <a:gd name="connsiteY53" fmla="*/ 924218 h 6858000"/>
              <a:gd name="connsiteX54" fmla="*/ 10674422 w 12073965"/>
              <a:gd name="connsiteY54" fmla="*/ 968075 h 6858000"/>
              <a:gd name="connsiteX55" fmla="*/ 10733310 w 12073965"/>
              <a:gd name="connsiteY55" fmla="*/ 960765 h 6858000"/>
              <a:gd name="connsiteX56" fmla="*/ 10772462 w 12073965"/>
              <a:gd name="connsiteY56" fmla="*/ 985554 h 6858000"/>
              <a:gd name="connsiteX57" fmla="*/ 10772462 w 12073965"/>
              <a:gd name="connsiteY57" fmla="*/ 991910 h 6858000"/>
              <a:gd name="connsiteX58" fmla="*/ 10735220 w 12073965"/>
              <a:gd name="connsiteY58" fmla="*/ 993817 h 6858000"/>
              <a:gd name="connsiteX59" fmla="*/ 10659461 w 12073965"/>
              <a:gd name="connsiteY59" fmla="*/ 1054516 h 6858000"/>
              <a:gd name="connsiteX60" fmla="*/ 10745088 w 12073965"/>
              <a:gd name="connsiteY60" fmla="*/ 1119347 h 6858000"/>
              <a:gd name="connsiteX61" fmla="*/ 10825939 w 12073965"/>
              <a:gd name="connsiteY61" fmla="*/ 1106000 h 6858000"/>
              <a:gd name="connsiteX62" fmla="*/ 10825939 w 12073965"/>
              <a:gd name="connsiteY62" fmla="*/ 982058 h 6858000"/>
              <a:gd name="connsiteX63" fmla="*/ 10739040 w 12073965"/>
              <a:gd name="connsiteY63" fmla="*/ 915320 h 6858000"/>
              <a:gd name="connsiteX64" fmla="*/ 11523780 w 12073965"/>
              <a:gd name="connsiteY64" fmla="*/ 842549 h 6858000"/>
              <a:gd name="connsiteX65" fmla="*/ 11463940 w 12073965"/>
              <a:gd name="connsiteY65" fmla="*/ 864476 h 6858000"/>
              <a:gd name="connsiteX66" fmla="*/ 11490677 w 12073965"/>
              <a:gd name="connsiteY66" fmla="*/ 1017334 h 6858000"/>
              <a:gd name="connsiteX67" fmla="*/ 11463940 w 12073965"/>
              <a:gd name="connsiteY67" fmla="*/ 1170192 h 6858000"/>
              <a:gd name="connsiteX68" fmla="*/ 11523780 w 12073965"/>
              <a:gd name="connsiteY68" fmla="*/ 1192119 h 6858000"/>
              <a:gd name="connsiteX69" fmla="*/ 11554655 w 12073965"/>
              <a:gd name="connsiteY69" fmla="*/ 1017334 h 6858000"/>
              <a:gd name="connsiteX70" fmla="*/ 11523780 w 12073965"/>
              <a:gd name="connsiteY70" fmla="*/ 842549 h 6858000"/>
              <a:gd name="connsiteX71" fmla="*/ 10562736 w 12073965"/>
              <a:gd name="connsiteY71" fmla="*/ 842549 h 6858000"/>
              <a:gd name="connsiteX72" fmla="*/ 10531862 w 12073965"/>
              <a:gd name="connsiteY72" fmla="*/ 1017334 h 6858000"/>
              <a:gd name="connsiteX73" fmla="*/ 10562736 w 12073965"/>
              <a:gd name="connsiteY73" fmla="*/ 1192119 h 6858000"/>
              <a:gd name="connsiteX74" fmla="*/ 10622577 w 12073965"/>
              <a:gd name="connsiteY74" fmla="*/ 1170192 h 6858000"/>
              <a:gd name="connsiteX75" fmla="*/ 10595840 w 12073965"/>
              <a:gd name="connsiteY75" fmla="*/ 1017334 h 6858000"/>
              <a:gd name="connsiteX76" fmla="*/ 10622577 w 12073965"/>
              <a:gd name="connsiteY76" fmla="*/ 864476 h 6858000"/>
              <a:gd name="connsiteX77" fmla="*/ 10562736 w 12073965"/>
              <a:gd name="connsiteY77" fmla="*/ 842549 h 6858000"/>
              <a:gd name="connsiteX78" fmla="*/ 10915312 w 12073965"/>
              <a:gd name="connsiteY78" fmla="*/ 813307 h 6858000"/>
              <a:gd name="connsiteX79" fmla="*/ 10862159 w 12073965"/>
              <a:gd name="connsiteY79" fmla="*/ 819028 h 6858000"/>
              <a:gd name="connsiteX80" fmla="*/ 10862159 w 12073965"/>
              <a:gd name="connsiteY80" fmla="*/ 1106000 h 6858000"/>
              <a:gd name="connsiteX81" fmla="*/ 10941092 w 12073965"/>
              <a:gd name="connsiteY81" fmla="*/ 1119348 h 6858000"/>
              <a:gd name="connsiteX82" fmla="*/ 11043258 w 12073965"/>
              <a:gd name="connsiteY82" fmla="*/ 1017334 h 6858000"/>
              <a:gd name="connsiteX83" fmla="*/ 10953823 w 12073965"/>
              <a:gd name="connsiteY83" fmla="*/ 915321 h 6858000"/>
              <a:gd name="connsiteX84" fmla="*/ 10915312 w 12073965"/>
              <a:gd name="connsiteY84" fmla="*/ 920088 h 6858000"/>
              <a:gd name="connsiteX85" fmla="*/ 10915312 w 12073965"/>
              <a:gd name="connsiteY85" fmla="*/ 813307 h 6858000"/>
              <a:gd name="connsiteX86" fmla="*/ 11043258 w 12073965"/>
              <a:gd name="connsiteY86" fmla="*/ 506601 h 6858000"/>
              <a:gd name="connsiteX87" fmla="*/ 10579711 w 12073965"/>
              <a:gd name="connsiteY87" fmla="*/ 801548 h 6858000"/>
              <a:gd name="connsiteX88" fmla="*/ 10637655 w 12073965"/>
              <a:gd name="connsiteY88" fmla="*/ 828593 h 6858000"/>
              <a:gd name="connsiteX89" fmla="*/ 11043258 w 12073965"/>
              <a:gd name="connsiteY89" fmla="*/ 570554 h 6858000"/>
              <a:gd name="connsiteX90" fmla="*/ 11448862 w 12073965"/>
              <a:gd name="connsiteY90" fmla="*/ 828593 h 6858000"/>
              <a:gd name="connsiteX91" fmla="*/ 11506805 w 12073965"/>
              <a:gd name="connsiteY91" fmla="*/ 801548 h 6858000"/>
              <a:gd name="connsiteX92" fmla="*/ 11043258 w 12073965"/>
              <a:gd name="connsiteY92" fmla="*/ 506601 h 6858000"/>
              <a:gd name="connsiteX93" fmla="*/ 0 w 12073965"/>
              <a:gd name="connsiteY93" fmla="*/ 0 h 6858000"/>
              <a:gd name="connsiteX94" fmla="*/ 8083685 w 12073965"/>
              <a:gd name="connsiteY94" fmla="*/ 0 h 6858000"/>
              <a:gd name="connsiteX95" fmla="*/ 8527143 w 12073965"/>
              <a:gd name="connsiteY95" fmla="*/ 0 h 6858000"/>
              <a:gd name="connsiteX96" fmla="*/ 12073965 w 12073965"/>
              <a:gd name="connsiteY96" fmla="*/ 0 h 6858000"/>
              <a:gd name="connsiteX97" fmla="*/ 12073965 w 12073965"/>
              <a:gd name="connsiteY97" fmla="*/ 2429182 h 6858000"/>
              <a:gd name="connsiteX98" fmla="*/ 12073965 w 12073965"/>
              <a:gd name="connsiteY98" fmla="*/ 2682094 h 6858000"/>
              <a:gd name="connsiteX99" fmla="*/ 12073965 w 12073965"/>
              <a:gd name="connsiteY99" fmla="*/ 5221368 h 6858000"/>
              <a:gd name="connsiteX100" fmla="*/ 8527143 w 12073965"/>
              <a:gd name="connsiteY100" fmla="*/ 5221368 h 6858000"/>
              <a:gd name="connsiteX101" fmla="*/ 8527143 w 12073965"/>
              <a:gd name="connsiteY101" fmla="*/ 6858000 h 6858000"/>
              <a:gd name="connsiteX102" fmla="*/ 0 w 12073965"/>
              <a:gd name="connsiteY102" fmla="*/ 6858000 h 6858000"/>
              <a:gd name="connsiteX0" fmla="*/ 10637654 w 12073965"/>
              <a:gd name="connsiteY0" fmla="*/ 1206076 h 6858000"/>
              <a:gd name="connsiteX1" fmla="*/ 10579711 w 12073965"/>
              <a:gd name="connsiteY1" fmla="*/ 1233121 h 6858000"/>
              <a:gd name="connsiteX2" fmla="*/ 11043258 w 12073965"/>
              <a:gd name="connsiteY2" fmla="*/ 1528067 h 6858000"/>
              <a:gd name="connsiteX3" fmla="*/ 11506805 w 12073965"/>
              <a:gd name="connsiteY3" fmla="*/ 1233121 h 6858000"/>
              <a:gd name="connsiteX4" fmla="*/ 11448862 w 12073965"/>
              <a:gd name="connsiteY4" fmla="*/ 1206076 h 6858000"/>
              <a:gd name="connsiteX5" fmla="*/ 11043258 w 12073965"/>
              <a:gd name="connsiteY5" fmla="*/ 1464114 h 6858000"/>
              <a:gd name="connsiteX6" fmla="*/ 10637654 w 12073965"/>
              <a:gd name="connsiteY6" fmla="*/ 1206076 h 6858000"/>
              <a:gd name="connsiteX7" fmla="*/ 11373556 w 12073965"/>
              <a:gd name="connsiteY7" fmla="*/ 1029296 h 6858000"/>
              <a:gd name="connsiteX8" fmla="*/ 11373556 w 12073965"/>
              <a:gd name="connsiteY8" fmla="*/ 1072273 h 6858000"/>
              <a:gd name="connsiteX9" fmla="*/ 11347339 w 12073965"/>
              <a:gd name="connsiteY9" fmla="*/ 1074820 h 6858000"/>
              <a:gd name="connsiteX10" fmla="*/ 11314408 w 12073965"/>
              <a:gd name="connsiteY10" fmla="*/ 1051581 h 6858000"/>
              <a:gd name="connsiteX11" fmla="*/ 11343183 w 12073965"/>
              <a:gd name="connsiteY11" fmla="*/ 1031206 h 6858000"/>
              <a:gd name="connsiteX12" fmla="*/ 11373556 w 12073965"/>
              <a:gd name="connsiteY12" fmla="*/ 1029296 h 6858000"/>
              <a:gd name="connsiteX13" fmla="*/ 10772440 w 12073965"/>
              <a:gd name="connsiteY13" fmla="*/ 1029296 h 6858000"/>
              <a:gd name="connsiteX14" fmla="*/ 10772440 w 12073965"/>
              <a:gd name="connsiteY14" fmla="*/ 1072273 h 6858000"/>
              <a:gd name="connsiteX15" fmla="*/ 10746371 w 12073965"/>
              <a:gd name="connsiteY15" fmla="*/ 1074820 h 6858000"/>
              <a:gd name="connsiteX16" fmla="*/ 10713625 w 12073965"/>
              <a:gd name="connsiteY16" fmla="*/ 1051581 h 6858000"/>
              <a:gd name="connsiteX17" fmla="*/ 10742238 w 12073965"/>
              <a:gd name="connsiteY17" fmla="*/ 1031206 h 6858000"/>
              <a:gd name="connsiteX18" fmla="*/ 10772440 w 12073965"/>
              <a:gd name="connsiteY18" fmla="*/ 1029296 h 6858000"/>
              <a:gd name="connsiteX19" fmla="*/ 10945198 w 12073965"/>
              <a:gd name="connsiteY19" fmla="*/ 960845 h 6858000"/>
              <a:gd name="connsiteX20" fmla="*/ 10988098 w 12073965"/>
              <a:gd name="connsiteY20" fmla="*/ 1017334 h 6858000"/>
              <a:gd name="connsiteX21" fmla="*/ 10945198 w 12073965"/>
              <a:gd name="connsiteY21" fmla="*/ 1073824 h 6858000"/>
              <a:gd name="connsiteX22" fmla="*/ 10915326 w 12073965"/>
              <a:gd name="connsiteY22" fmla="*/ 1070015 h 6858000"/>
              <a:gd name="connsiteX23" fmla="*/ 10915326 w 12073965"/>
              <a:gd name="connsiteY23" fmla="*/ 964970 h 6858000"/>
              <a:gd name="connsiteX24" fmla="*/ 10945198 w 12073965"/>
              <a:gd name="connsiteY24" fmla="*/ 960845 h 6858000"/>
              <a:gd name="connsiteX25" fmla="*/ 11158645 w 12073965"/>
              <a:gd name="connsiteY25" fmla="*/ 915321 h 6858000"/>
              <a:gd name="connsiteX26" fmla="*/ 11069509 w 12073965"/>
              <a:gd name="connsiteY26" fmla="*/ 982058 h 6858000"/>
              <a:gd name="connsiteX27" fmla="*/ 11139226 w 12073965"/>
              <a:gd name="connsiteY27" fmla="*/ 1035766 h 6858000"/>
              <a:gd name="connsiteX28" fmla="*/ 11182202 w 12073965"/>
              <a:gd name="connsiteY28" fmla="*/ 1054198 h 6858000"/>
              <a:gd name="connsiteX29" fmla="*/ 11142091 w 12073965"/>
              <a:gd name="connsiteY29" fmla="*/ 1073902 h 6858000"/>
              <a:gd name="connsiteX30" fmla="*/ 11073966 w 12073965"/>
              <a:gd name="connsiteY30" fmla="*/ 1064051 h 6858000"/>
              <a:gd name="connsiteX31" fmla="*/ 11078104 w 12073965"/>
              <a:gd name="connsiteY31" fmla="*/ 1108225 h 6858000"/>
              <a:gd name="connsiteX32" fmla="*/ 11146230 w 12073965"/>
              <a:gd name="connsiteY32" fmla="*/ 1119347 h 6858000"/>
              <a:gd name="connsiteX33" fmla="*/ 11236320 w 12073965"/>
              <a:gd name="connsiteY33" fmla="*/ 1054516 h 6858000"/>
              <a:gd name="connsiteX34" fmla="*/ 11160555 w 12073965"/>
              <a:gd name="connsiteY34" fmla="*/ 993817 h 6858000"/>
              <a:gd name="connsiteX35" fmla="*/ 11123309 w 12073965"/>
              <a:gd name="connsiteY35" fmla="*/ 980469 h 6858000"/>
              <a:gd name="connsiteX36" fmla="*/ 11162465 w 12073965"/>
              <a:gd name="connsiteY36" fmla="*/ 960765 h 6858000"/>
              <a:gd name="connsiteX37" fmla="*/ 11221358 w 12073965"/>
              <a:gd name="connsiteY37" fmla="*/ 968076 h 6858000"/>
              <a:gd name="connsiteX38" fmla="*/ 11217220 w 12073965"/>
              <a:gd name="connsiteY38" fmla="*/ 924219 h 6858000"/>
              <a:gd name="connsiteX39" fmla="*/ 11158645 w 12073965"/>
              <a:gd name="connsiteY39" fmla="*/ 915321 h 6858000"/>
              <a:gd name="connsiteX40" fmla="*/ 11340156 w 12073965"/>
              <a:gd name="connsiteY40" fmla="*/ 915320 h 6858000"/>
              <a:gd name="connsiteX41" fmla="*/ 11279676 w 12073965"/>
              <a:gd name="connsiteY41" fmla="*/ 924218 h 6858000"/>
              <a:gd name="connsiteX42" fmla="*/ 11275538 w 12073965"/>
              <a:gd name="connsiteY42" fmla="*/ 968075 h 6858000"/>
              <a:gd name="connsiteX43" fmla="*/ 11334426 w 12073965"/>
              <a:gd name="connsiteY43" fmla="*/ 960765 h 6858000"/>
              <a:gd name="connsiteX44" fmla="*/ 11373578 w 12073965"/>
              <a:gd name="connsiteY44" fmla="*/ 985554 h 6858000"/>
              <a:gd name="connsiteX45" fmla="*/ 11373578 w 12073965"/>
              <a:gd name="connsiteY45" fmla="*/ 991910 h 6858000"/>
              <a:gd name="connsiteX46" fmla="*/ 11336336 w 12073965"/>
              <a:gd name="connsiteY46" fmla="*/ 993817 h 6858000"/>
              <a:gd name="connsiteX47" fmla="*/ 11260577 w 12073965"/>
              <a:gd name="connsiteY47" fmla="*/ 1054516 h 6858000"/>
              <a:gd name="connsiteX48" fmla="*/ 11346204 w 12073965"/>
              <a:gd name="connsiteY48" fmla="*/ 1119347 h 6858000"/>
              <a:gd name="connsiteX49" fmla="*/ 11427055 w 12073965"/>
              <a:gd name="connsiteY49" fmla="*/ 1106000 h 6858000"/>
              <a:gd name="connsiteX50" fmla="*/ 11427055 w 12073965"/>
              <a:gd name="connsiteY50" fmla="*/ 982058 h 6858000"/>
              <a:gd name="connsiteX51" fmla="*/ 11340156 w 12073965"/>
              <a:gd name="connsiteY51" fmla="*/ 915320 h 6858000"/>
              <a:gd name="connsiteX52" fmla="*/ 10739040 w 12073965"/>
              <a:gd name="connsiteY52" fmla="*/ 915320 h 6858000"/>
              <a:gd name="connsiteX53" fmla="*/ 10678560 w 12073965"/>
              <a:gd name="connsiteY53" fmla="*/ 924218 h 6858000"/>
              <a:gd name="connsiteX54" fmla="*/ 10674422 w 12073965"/>
              <a:gd name="connsiteY54" fmla="*/ 968075 h 6858000"/>
              <a:gd name="connsiteX55" fmla="*/ 10733310 w 12073965"/>
              <a:gd name="connsiteY55" fmla="*/ 960765 h 6858000"/>
              <a:gd name="connsiteX56" fmla="*/ 10772462 w 12073965"/>
              <a:gd name="connsiteY56" fmla="*/ 985554 h 6858000"/>
              <a:gd name="connsiteX57" fmla="*/ 10772462 w 12073965"/>
              <a:gd name="connsiteY57" fmla="*/ 991910 h 6858000"/>
              <a:gd name="connsiteX58" fmla="*/ 10735220 w 12073965"/>
              <a:gd name="connsiteY58" fmla="*/ 993817 h 6858000"/>
              <a:gd name="connsiteX59" fmla="*/ 10659461 w 12073965"/>
              <a:gd name="connsiteY59" fmla="*/ 1054516 h 6858000"/>
              <a:gd name="connsiteX60" fmla="*/ 10745088 w 12073965"/>
              <a:gd name="connsiteY60" fmla="*/ 1119347 h 6858000"/>
              <a:gd name="connsiteX61" fmla="*/ 10825939 w 12073965"/>
              <a:gd name="connsiteY61" fmla="*/ 1106000 h 6858000"/>
              <a:gd name="connsiteX62" fmla="*/ 10825939 w 12073965"/>
              <a:gd name="connsiteY62" fmla="*/ 982058 h 6858000"/>
              <a:gd name="connsiteX63" fmla="*/ 10739040 w 12073965"/>
              <a:gd name="connsiteY63" fmla="*/ 915320 h 6858000"/>
              <a:gd name="connsiteX64" fmla="*/ 11523780 w 12073965"/>
              <a:gd name="connsiteY64" fmla="*/ 842549 h 6858000"/>
              <a:gd name="connsiteX65" fmla="*/ 11463940 w 12073965"/>
              <a:gd name="connsiteY65" fmla="*/ 864476 h 6858000"/>
              <a:gd name="connsiteX66" fmla="*/ 11490677 w 12073965"/>
              <a:gd name="connsiteY66" fmla="*/ 1017334 h 6858000"/>
              <a:gd name="connsiteX67" fmla="*/ 11463940 w 12073965"/>
              <a:gd name="connsiteY67" fmla="*/ 1170192 h 6858000"/>
              <a:gd name="connsiteX68" fmla="*/ 11523780 w 12073965"/>
              <a:gd name="connsiteY68" fmla="*/ 1192119 h 6858000"/>
              <a:gd name="connsiteX69" fmla="*/ 11554655 w 12073965"/>
              <a:gd name="connsiteY69" fmla="*/ 1017334 h 6858000"/>
              <a:gd name="connsiteX70" fmla="*/ 11523780 w 12073965"/>
              <a:gd name="connsiteY70" fmla="*/ 842549 h 6858000"/>
              <a:gd name="connsiteX71" fmla="*/ 10562736 w 12073965"/>
              <a:gd name="connsiteY71" fmla="*/ 842549 h 6858000"/>
              <a:gd name="connsiteX72" fmla="*/ 10531862 w 12073965"/>
              <a:gd name="connsiteY72" fmla="*/ 1017334 h 6858000"/>
              <a:gd name="connsiteX73" fmla="*/ 10562736 w 12073965"/>
              <a:gd name="connsiteY73" fmla="*/ 1192119 h 6858000"/>
              <a:gd name="connsiteX74" fmla="*/ 10622577 w 12073965"/>
              <a:gd name="connsiteY74" fmla="*/ 1170192 h 6858000"/>
              <a:gd name="connsiteX75" fmla="*/ 10595840 w 12073965"/>
              <a:gd name="connsiteY75" fmla="*/ 1017334 h 6858000"/>
              <a:gd name="connsiteX76" fmla="*/ 10622577 w 12073965"/>
              <a:gd name="connsiteY76" fmla="*/ 864476 h 6858000"/>
              <a:gd name="connsiteX77" fmla="*/ 10562736 w 12073965"/>
              <a:gd name="connsiteY77" fmla="*/ 842549 h 6858000"/>
              <a:gd name="connsiteX78" fmla="*/ 10915312 w 12073965"/>
              <a:gd name="connsiteY78" fmla="*/ 813307 h 6858000"/>
              <a:gd name="connsiteX79" fmla="*/ 10862159 w 12073965"/>
              <a:gd name="connsiteY79" fmla="*/ 819028 h 6858000"/>
              <a:gd name="connsiteX80" fmla="*/ 10862159 w 12073965"/>
              <a:gd name="connsiteY80" fmla="*/ 1106000 h 6858000"/>
              <a:gd name="connsiteX81" fmla="*/ 10941092 w 12073965"/>
              <a:gd name="connsiteY81" fmla="*/ 1119348 h 6858000"/>
              <a:gd name="connsiteX82" fmla="*/ 11043258 w 12073965"/>
              <a:gd name="connsiteY82" fmla="*/ 1017334 h 6858000"/>
              <a:gd name="connsiteX83" fmla="*/ 10953823 w 12073965"/>
              <a:gd name="connsiteY83" fmla="*/ 915321 h 6858000"/>
              <a:gd name="connsiteX84" fmla="*/ 10915312 w 12073965"/>
              <a:gd name="connsiteY84" fmla="*/ 920088 h 6858000"/>
              <a:gd name="connsiteX85" fmla="*/ 10915312 w 12073965"/>
              <a:gd name="connsiteY85" fmla="*/ 813307 h 6858000"/>
              <a:gd name="connsiteX86" fmla="*/ 11043258 w 12073965"/>
              <a:gd name="connsiteY86" fmla="*/ 506601 h 6858000"/>
              <a:gd name="connsiteX87" fmla="*/ 10579711 w 12073965"/>
              <a:gd name="connsiteY87" fmla="*/ 801548 h 6858000"/>
              <a:gd name="connsiteX88" fmla="*/ 10637655 w 12073965"/>
              <a:gd name="connsiteY88" fmla="*/ 828593 h 6858000"/>
              <a:gd name="connsiteX89" fmla="*/ 11043258 w 12073965"/>
              <a:gd name="connsiteY89" fmla="*/ 570554 h 6858000"/>
              <a:gd name="connsiteX90" fmla="*/ 11448862 w 12073965"/>
              <a:gd name="connsiteY90" fmla="*/ 828593 h 6858000"/>
              <a:gd name="connsiteX91" fmla="*/ 11506805 w 12073965"/>
              <a:gd name="connsiteY91" fmla="*/ 801548 h 6858000"/>
              <a:gd name="connsiteX92" fmla="*/ 11043258 w 12073965"/>
              <a:gd name="connsiteY92" fmla="*/ 506601 h 6858000"/>
              <a:gd name="connsiteX93" fmla="*/ 0 w 12073965"/>
              <a:gd name="connsiteY93" fmla="*/ 0 h 6858000"/>
              <a:gd name="connsiteX94" fmla="*/ 8083685 w 12073965"/>
              <a:gd name="connsiteY94" fmla="*/ 0 h 6858000"/>
              <a:gd name="connsiteX95" fmla="*/ 8527143 w 12073965"/>
              <a:gd name="connsiteY95" fmla="*/ 0 h 6858000"/>
              <a:gd name="connsiteX96" fmla="*/ 12073965 w 12073965"/>
              <a:gd name="connsiteY96" fmla="*/ 0 h 6858000"/>
              <a:gd name="connsiteX97" fmla="*/ 12073965 w 12073965"/>
              <a:gd name="connsiteY97" fmla="*/ 2429182 h 6858000"/>
              <a:gd name="connsiteX98" fmla="*/ 12073965 w 12073965"/>
              <a:gd name="connsiteY98" fmla="*/ 2682094 h 6858000"/>
              <a:gd name="connsiteX99" fmla="*/ 12073965 w 12073965"/>
              <a:gd name="connsiteY99" fmla="*/ 5221368 h 6858000"/>
              <a:gd name="connsiteX100" fmla="*/ 8527143 w 12073965"/>
              <a:gd name="connsiteY100" fmla="*/ 6858000 h 6858000"/>
              <a:gd name="connsiteX101" fmla="*/ 0 w 12073965"/>
              <a:gd name="connsiteY101" fmla="*/ 6858000 h 6858000"/>
              <a:gd name="connsiteX102" fmla="*/ 0 w 12073965"/>
              <a:gd name="connsiteY102" fmla="*/ 0 h 6858000"/>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073965 w 12103100"/>
              <a:gd name="connsiteY98" fmla="*/ 2682094 h 6890657"/>
              <a:gd name="connsiteX99" fmla="*/ 12073965 w 12103100"/>
              <a:gd name="connsiteY99" fmla="*/ 5221368 h 6890657"/>
              <a:gd name="connsiteX100" fmla="*/ 12103100 w 12103100"/>
              <a:gd name="connsiteY100" fmla="*/ 6890657 h 6890657"/>
              <a:gd name="connsiteX101" fmla="*/ 0 w 12103100"/>
              <a:gd name="connsiteY101" fmla="*/ 6858000 h 6890657"/>
              <a:gd name="connsiteX102" fmla="*/ 0 w 12103100"/>
              <a:gd name="connsiteY102"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073965 w 12103100"/>
              <a:gd name="connsiteY98" fmla="*/ 2682094 h 6890657"/>
              <a:gd name="connsiteX99" fmla="*/ 12103100 w 12103100"/>
              <a:gd name="connsiteY99" fmla="*/ 6890657 h 6890657"/>
              <a:gd name="connsiteX100" fmla="*/ 0 w 12103100"/>
              <a:gd name="connsiteY100" fmla="*/ 6858000 h 6890657"/>
              <a:gd name="connsiteX101" fmla="*/ 0 w 12103100"/>
              <a:gd name="connsiteY101"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103100 w 12103100"/>
              <a:gd name="connsiteY98" fmla="*/ 6890657 h 6890657"/>
              <a:gd name="connsiteX99" fmla="*/ 0 w 12103100"/>
              <a:gd name="connsiteY99" fmla="*/ 6858000 h 6890657"/>
              <a:gd name="connsiteX100" fmla="*/ 0 w 12103100"/>
              <a:gd name="connsiteY100"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103100 w 12103100"/>
              <a:gd name="connsiteY97" fmla="*/ 6890657 h 6890657"/>
              <a:gd name="connsiteX98" fmla="*/ 0 w 12103100"/>
              <a:gd name="connsiteY98" fmla="*/ 6858000 h 6890657"/>
              <a:gd name="connsiteX99" fmla="*/ 0 w 12103100"/>
              <a:gd name="connsiteY99" fmla="*/ 0 h 689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103100" h="6890657">
                <a:moveTo>
                  <a:pt x="10637654" y="1206076"/>
                </a:moveTo>
                <a:lnTo>
                  <a:pt x="10579711" y="1233121"/>
                </a:lnTo>
                <a:cubicBezTo>
                  <a:pt x="10661214" y="1407479"/>
                  <a:pt x="10838228" y="1528067"/>
                  <a:pt x="11043258" y="1528067"/>
                </a:cubicBezTo>
                <a:cubicBezTo>
                  <a:pt x="11248289" y="1528067"/>
                  <a:pt x="11425302" y="1407479"/>
                  <a:pt x="11506805" y="1233121"/>
                </a:cubicBezTo>
                <a:lnTo>
                  <a:pt x="11448862" y="1206076"/>
                </a:lnTo>
                <a:cubicBezTo>
                  <a:pt x="11377547" y="1358481"/>
                  <a:pt x="11222819" y="1464114"/>
                  <a:pt x="11043258" y="1464114"/>
                </a:cubicBezTo>
                <a:cubicBezTo>
                  <a:pt x="10863698" y="1464114"/>
                  <a:pt x="10708970" y="1358481"/>
                  <a:pt x="10637654" y="1206076"/>
                </a:cubicBezTo>
                <a:close/>
                <a:moveTo>
                  <a:pt x="11373556" y="1029296"/>
                </a:moveTo>
                <a:lnTo>
                  <a:pt x="11373556" y="1072273"/>
                </a:lnTo>
                <a:cubicBezTo>
                  <a:pt x="11366523" y="1073229"/>
                  <a:pt x="11356931" y="1074820"/>
                  <a:pt x="11347339" y="1074820"/>
                </a:cubicBezTo>
                <a:cubicBezTo>
                  <a:pt x="11324000" y="1074820"/>
                  <a:pt x="11314408" y="1067498"/>
                  <a:pt x="11314408" y="1051581"/>
                </a:cubicBezTo>
                <a:cubicBezTo>
                  <a:pt x="11314408" y="1035027"/>
                  <a:pt x="11323680" y="1032161"/>
                  <a:pt x="11343183" y="1031206"/>
                </a:cubicBezTo>
                <a:lnTo>
                  <a:pt x="11373556" y="1029296"/>
                </a:lnTo>
                <a:close/>
                <a:moveTo>
                  <a:pt x="10772440" y="1029296"/>
                </a:moveTo>
                <a:lnTo>
                  <a:pt x="10772440" y="1072273"/>
                </a:lnTo>
                <a:cubicBezTo>
                  <a:pt x="10765446" y="1073229"/>
                  <a:pt x="10756227" y="1074820"/>
                  <a:pt x="10746371" y="1074820"/>
                </a:cubicBezTo>
                <a:cubicBezTo>
                  <a:pt x="10723162" y="1074820"/>
                  <a:pt x="10713625" y="1067498"/>
                  <a:pt x="10713625" y="1051581"/>
                </a:cubicBezTo>
                <a:cubicBezTo>
                  <a:pt x="10713625" y="1035027"/>
                  <a:pt x="10722844" y="1032161"/>
                  <a:pt x="10742238" y="1031206"/>
                </a:cubicBezTo>
                <a:lnTo>
                  <a:pt x="10772440" y="1029296"/>
                </a:lnTo>
                <a:close/>
                <a:moveTo>
                  <a:pt x="10945198" y="960845"/>
                </a:moveTo>
                <a:cubicBezTo>
                  <a:pt x="10974116" y="960845"/>
                  <a:pt x="10988098" y="974174"/>
                  <a:pt x="10988098" y="1017334"/>
                </a:cubicBezTo>
                <a:cubicBezTo>
                  <a:pt x="10988098" y="1060495"/>
                  <a:pt x="10974116" y="1073824"/>
                  <a:pt x="10945198" y="1073824"/>
                </a:cubicBezTo>
                <a:cubicBezTo>
                  <a:pt x="10935664" y="1073824"/>
                  <a:pt x="10927084" y="1072554"/>
                  <a:pt x="10915326" y="1070015"/>
                </a:cubicBezTo>
                <a:lnTo>
                  <a:pt x="10915326" y="964970"/>
                </a:lnTo>
                <a:cubicBezTo>
                  <a:pt x="10925177" y="962749"/>
                  <a:pt x="10934711" y="960845"/>
                  <a:pt x="10945198" y="960845"/>
                </a:cubicBezTo>
                <a:close/>
                <a:moveTo>
                  <a:pt x="11158645" y="915321"/>
                </a:moveTo>
                <a:cubicBezTo>
                  <a:pt x="11094340" y="915321"/>
                  <a:pt x="11069509" y="938520"/>
                  <a:pt x="11069509" y="982058"/>
                </a:cubicBezTo>
                <a:cubicBezTo>
                  <a:pt x="11069509" y="1024325"/>
                  <a:pt x="11095614" y="1035131"/>
                  <a:pt x="11139226" y="1035766"/>
                </a:cubicBezTo>
                <a:cubicBezTo>
                  <a:pt x="11167558" y="1036402"/>
                  <a:pt x="11182202" y="1035449"/>
                  <a:pt x="11182202" y="1054198"/>
                </a:cubicBezTo>
                <a:cubicBezTo>
                  <a:pt x="11182202" y="1070406"/>
                  <a:pt x="11169468" y="1073902"/>
                  <a:pt x="11142091" y="1073902"/>
                </a:cubicBezTo>
                <a:cubicBezTo>
                  <a:pt x="11111530" y="1073902"/>
                  <a:pt x="11089883" y="1069135"/>
                  <a:pt x="11073966" y="1064051"/>
                </a:cubicBezTo>
                <a:lnTo>
                  <a:pt x="11078104" y="1108225"/>
                </a:lnTo>
                <a:cubicBezTo>
                  <a:pt x="11098478" y="1115534"/>
                  <a:pt x="11117897" y="1119347"/>
                  <a:pt x="11146230" y="1119347"/>
                </a:cubicBezTo>
                <a:cubicBezTo>
                  <a:pt x="11214991" y="1119347"/>
                  <a:pt x="11236320" y="1096148"/>
                  <a:pt x="11236320" y="1054516"/>
                </a:cubicBezTo>
                <a:cubicBezTo>
                  <a:pt x="11236320" y="1001762"/>
                  <a:pt x="11201620" y="994452"/>
                  <a:pt x="11160555" y="993817"/>
                </a:cubicBezTo>
                <a:cubicBezTo>
                  <a:pt x="11137634" y="993499"/>
                  <a:pt x="11123309" y="992863"/>
                  <a:pt x="11123309" y="980469"/>
                </a:cubicBezTo>
                <a:cubicBezTo>
                  <a:pt x="11123309" y="964262"/>
                  <a:pt x="11133178" y="960765"/>
                  <a:pt x="11162465" y="960765"/>
                </a:cubicBezTo>
                <a:cubicBezTo>
                  <a:pt x="11180292" y="960765"/>
                  <a:pt x="11205441" y="964262"/>
                  <a:pt x="11221358" y="968076"/>
                </a:cubicBezTo>
                <a:lnTo>
                  <a:pt x="11217220" y="924219"/>
                </a:lnTo>
                <a:cubicBezTo>
                  <a:pt x="11196527" y="917863"/>
                  <a:pt x="11173925" y="915321"/>
                  <a:pt x="11158645" y="915321"/>
                </a:cubicBezTo>
                <a:close/>
                <a:moveTo>
                  <a:pt x="11340156" y="915320"/>
                </a:moveTo>
                <a:cubicBezTo>
                  <a:pt x="11322967" y="915320"/>
                  <a:pt x="11300366" y="917863"/>
                  <a:pt x="11279676" y="924218"/>
                </a:cubicBezTo>
                <a:lnTo>
                  <a:pt x="11275538" y="968075"/>
                </a:lnTo>
                <a:cubicBezTo>
                  <a:pt x="11292408" y="964262"/>
                  <a:pt x="11317555" y="960765"/>
                  <a:pt x="11334426" y="960765"/>
                </a:cubicBezTo>
                <a:cubicBezTo>
                  <a:pt x="11362119" y="960765"/>
                  <a:pt x="11373578" y="963308"/>
                  <a:pt x="11373578" y="985554"/>
                </a:cubicBezTo>
                <a:lnTo>
                  <a:pt x="11373578" y="991910"/>
                </a:lnTo>
                <a:lnTo>
                  <a:pt x="11336336" y="993817"/>
                </a:lnTo>
                <a:cubicBezTo>
                  <a:pt x="11295274" y="996041"/>
                  <a:pt x="11260577" y="1001762"/>
                  <a:pt x="11260577" y="1054516"/>
                </a:cubicBezTo>
                <a:cubicBezTo>
                  <a:pt x="11260577" y="1096148"/>
                  <a:pt x="11281904" y="1119347"/>
                  <a:pt x="11346204" y="1119347"/>
                </a:cubicBezTo>
                <a:cubicBezTo>
                  <a:pt x="11376125" y="1119347"/>
                  <a:pt x="11404773" y="1112991"/>
                  <a:pt x="11427055" y="1106000"/>
                </a:cubicBezTo>
                <a:lnTo>
                  <a:pt x="11427055" y="982058"/>
                </a:lnTo>
                <a:cubicBezTo>
                  <a:pt x="11427055" y="938520"/>
                  <a:pt x="11402545" y="915320"/>
                  <a:pt x="11340156" y="915320"/>
                </a:cubicBezTo>
                <a:close/>
                <a:moveTo>
                  <a:pt x="10739040" y="915320"/>
                </a:moveTo>
                <a:cubicBezTo>
                  <a:pt x="10721851" y="915320"/>
                  <a:pt x="10699250" y="917863"/>
                  <a:pt x="10678560" y="924218"/>
                </a:cubicBezTo>
                <a:lnTo>
                  <a:pt x="10674422" y="968075"/>
                </a:lnTo>
                <a:cubicBezTo>
                  <a:pt x="10691293" y="964262"/>
                  <a:pt x="10716440" y="960765"/>
                  <a:pt x="10733310" y="960765"/>
                </a:cubicBezTo>
                <a:cubicBezTo>
                  <a:pt x="10761004" y="960765"/>
                  <a:pt x="10772462" y="963308"/>
                  <a:pt x="10772462" y="985554"/>
                </a:cubicBezTo>
                <a:lnTo>
                  <a:pt x="10772462" y="991910"/>
                </a:lnTo>
                <a:lnTo>
                  <a:pt x="10735220" y="993817"/>
                </a:lnTo>
                <a:cubicBezTo>
                  <a:pt x="10694158" y="996041"/>
                  <a:pt x="10659461" y="1003033"/>
                  <a:pt x="10659461" y="1054516"/>
                </a:cubicBezTo>
                <a:cubicBezTo>
                  <a:pt x="10659461" y="1096148"/>
                  <a:pt x="10680788" y="1119347"/>
                  <a:pt x="10745088" y="1119347"/>
                </a:cubicBezTo>
                <a:cubicBezTo>
                  <a:pt x="10775010" y="1119347"/>
                  <a:pt x="10803658" y="1112991"/>
                  <a:pt x="10825939" y="1106000"/>
                </a:cubicBezTo>
                <a:lnTo>
                  <a:pt x="10825939" y="982058"/>
                </a:lnTo>
                <a:cubicBezTo>
                  <a:pt x="10825939" y="938520"/>
                  <a:pt x="10801430" y="915320"/>
                  <a:pt x="10739040" y="915320"/>
                </a:cubicBezTo>
                <a:close/>
                <a:moveTo>
                  <a:pt x="11523780" y="842549"/>
                </a:moveTo>
                <a:lnTo>
                  <a:pt x="11463940" y="864476"/>
                </a:lnTo>
                <a:cubicBezTo>
                  <a:pt x="11481128" y="912145"/>
                  <a:pt x="11490677" y="963627"/>
                  <a:pt x="11490677" y="1017334"/>
                </a:cubicBezTo>
                <a:cubicBezTo>
                  <a:pt x="11490677" y="1071041"/>
                  <a:pt x="11481128" y="1122523"/>
                  <a:pt x="11463940" y="1170192"/>
                </a:cubicBezTo>
                <a:lnTo>
                  <a:pt x="11523780" y="1192119"/>
                </a:lnTo>
                <a:cubicBezTo>
                  <a:pt x="11543833" y="1137459"/>
                  <a:pt x="11554655" y="1078667"/>
                  <a:pt x="11554655" y="1017334"/>
                </a:cubicBezTo>
                <a:cubicBezTo>
                  <a:pt x="11554655" y="956000"/>
                  <a:pt x="11543833" y="897208"/>
                  <a:pt x="11523780" y="842549"/>
                </a:cubicBezTo>
                <a:close/>
                <a:moveTo>
                  <a:pt x="10562736" y="842549"/>
                </a:moveTo>
                <a:cubicBezTo>
                  <a:pt x="10542684" y="897208"/>
                  <a:pt x="10531862" y="956000"/>
                  <a:pt x="10531862" y="1017334"/>
                </a:cubicBezTo>
                <a:cubicBezTo>
                  <a:pt x="10531862" y="1078667"/>
                  <a:pt x="10542684" y="1137459"/>
                  <a:pt x="10562736" y="1192119"/>
                </a:cubicBezTo>
                <a:lnTo>
                  <a:pt x="10622577" y="1170192"/>
                </a:lnTo>
                <a:cubicBezTo>
                  <a:pt x="10605389" y="1122523"/>
                  <a:pt x="10595840" y="1071041"/>
                  <a:pt x="10595840" y="1017334"/>
                </a:cubicBezTo>
                <a:cubicBezTo>
                  <a:pt x="10595840" y="963627"/>
                  <a:pt x="10605389" y="912145"/>
                  <a:pt x="10622577" y="864476"/>
                </a:cubicBezTo>
                <a:lnTo>
                  <a:pt x="10562736" y="842549"/>
                </a:lnTo>
                <a:close/>
                <a:moveTo>
                  <a:pt x="10915312" y="813307"/>
                </a:moveTo>
                <a:lnTo>
                  <a:pt x="10862159" y="819028"/>
                </a:lnTo>
                <a:lnTo>
                  <a:pt x="10862159" y="1106000"/>
                </a:lnTo>
                <a:cubicBezTo>
                  <a:pt x="10884120" y="1112992"/>
                  <a:pt x="10912765" y="1119348"/>
                  <a:pt x="10941092" y="1119348"/>
                </a:cubicBezTo>
                <a:cubicBezTo>
                  <a:pt x="11005383" y="1119348"/>
                  <a:pt x="11043258" y="1097738"/>
                  <a:pt x="11043258" y="1017334"/>
                </a:cubicBezTo>
                <a:cubicBezTo>
                  <a:pt x="11043258" y="936931"/>
                  <a:pt x="11005383" y="915321"/>
                  <a:pt x="10953823" y="915321"/>
                </a:cubicBezTo>
                <a:cubicBezTo>
                  <a:pt x="10941092" y="915321"/>
                  <a:pt x="10927406" y="917545"/>
                  <a:pt x="10915312" y="920088"/>
                </a:cubicBezTo>
                <a:lnTo>
                  <a:pt x="10915312" y="813307"/>
                </a:lnTo>
                <a:close/>
                <a:moveTo>
                  <a:pt x="11043258" y="506601"/>
                </a:moveTo>
                <a:cubicBezTo>
                  <a:pt x="10838228" y="506601"/>
                  <a:pt x="10661214" y="627189"/>
                  <a:pt x="10579711" y="801548"/>
                </a:cubicBezTo>
                <a:lnTo>
                  <a:pt x="10637655" y="828593"/>
                </a:lnTo>
                <a:cubicBezTo>
                  <a:pt x="10708970" y="676188"/>
                  <a:pt x="10863698" y="570554"/>
                  <a:pt x="11043258" y="570554"/>
                </a:cubicBezTo>
                <a:cubicBezTo>
                  <a:pt x="11222819" y="570554"/>
                  <a:pt x="11377547" y="676188"/>
                  <a:pt x="11448862" y="828593"/>
                </a:cubicBezTo>
                <a:lnTo>
                  <a:pt x="11506805" y="801548"/>
                </a:lnTo>
                <a:cubicBezTo>
                  <a:pt x="11425302" y="627189"/>
                  <a:pt x="11248289" y="506601"/>
                  <a:pt x="11043258" y="506601"/>
                </a:cubicBezTo>
                <a:close/>
                <a:moveTo>
                  <a:pt x="0" y="0"/>
                </a:moveTo>
                <a:lnTo>
                  <a:pt x="8083685" y="0"/>
                </a:lnTo>
                <a:lnTo>
                  <a:pt x="8527143" y="0"/>
                </a:lnTo>
                <a:lnTo>
                  <a:pt x="12073965" y="0"/>
                </a:lnTo>
                <a:lnTo>
                  <a:pt x="12103100" y="6890657"/>
                </a:lnTo>
                <a:lnTo>
                  <a:pt x="0" y="6858000"/>
                </a:lnTo>
                <a:lnTo>
                  <a:pt x="0" y="0"/>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grpSp>
        <p:nvGrpSpPr>
          <p:cNvPr id="20" name="Group 19">
            <a:extLst>
              <a:ext uri="{FF2B5EF4-FFF2-40B4-BE49-F238E27FC236}">
                <a16:creationId xmlns:a16="http://schemas.microsoft.com/office/drawing/2014/main" id="{EB37B4E3-7AC6-4CB3-9964-6C5F6875564B}"/>
              </a:ext>
            </a:extLst>
          </p:cNvPr>
          <p:cNvGrpSpPr/>
          <p:nvPr userDrawn="1"/>
        </p:nvGrpSpPr>
        <p:grpSpPr>
          <a:xfrm>
            <a:off x="12073965" y="-3096"/>
            <a:ext cx="127000" cy="6858000"/>
            <a:chOff x="12073965" y="-3096"/>
            <a:chExt cx="127000" cy="6096000"/>
          </a:xfrm>
        </p:grpSpPr>
        <p:sp>
          <p:nvSpPr>
            <p:cNvPr id="21" name="Freeform: Shape 20">
              <a:extLst>
                <a:ext uri="{FF2B5EF4-FFF2-40B4-BE49-F238E27FC236}">
                  <a16:creationId xmlns:a16="http://schemas.microsoft.com/office/drawing/2014/main" id="{D00E49DC-7342-4331-B464-85000422AE20}"/>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BC65FE0F-613F-453F-B636-58DB98498494}"/>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2B2C8A2C-D93D-4113-9573-8C7B4BE57DAE}"/>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8A45F09D-CE15-4854-9BE5-912DBAC0B16C}"/>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64400575-E1B3-46D6-8699-24C946A74602}"/>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4B5E1AE9-41F2-445D-A869-AE70053E56C3}"/>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28" name="Freeform: Shape 27">
              <a:extLst>
                <a:ext uri="{FF2B5EF4-FFF2-40B4-BE49-F238E27FC236}">
                  <a16:creationId xmlns:a16="http://schemas.microsoft.com/office/drawing/2014/main" id="{54A22D74-427D-4A9E-9B32-34776B5152AF}"/>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0" name="Freeform: Shape 29">
              <a:extLst>
                <a:ext uri="{FF2B5EF4-FFF2-40B4-BE49-F238E27FC236}">
                  <a16:creationId xmlns:a16="http://schemas.microsoft.com/office/drawing/2014/main" id="{878B1440-BCD1-4554-A6FF-3D7E9D9A4EE9}"/>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1" name="Freeform: Shape 30">
              <a:extLst>
                <a:ext uri="{FF2B5EF4-FFF2-40B4-BE49-F238E27FC236}">
                  <a16:creationId xmlns:a16="http://schemas.microsoft.com/office/drawing/2014/main" id="{AFEDB978-707C-47F2-B1D6-0FF48AFC43C4}"/>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32" name="Freeform: Shape 31">
              <a:extLst>
                <a:ext uri="{FF2B5EF4-FFF2-40B4-BE49-F238E27FC236}">
                  <a16:creationId xmlns:a16="http://schemas.microsoft.com/office/drawing/2014/main" id="{60A0119F-1157-4F58-A309-8EE2D9CCE6EF}"/>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33" name="Freeform: Shape 32">
              <a:extLst>
                <a:ext uri="{FF2B5EF4-FFF2-40B4-BE49-F238E27FC236}">
                  <a16:creationId xmlns:a16="http://schemas.microsoft.com/office/drawing/2014/main" id="{E83229C4-57C6-4005-BAC7-5D265859FB66}"/>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36" name="Freeform: Shape 35">
              <a:extLst>
                <a:ext uri="{FF2B5EF4-FFF2-40B4-BE49-F238E27FC236}">
                  <a16:creationId xmlns:a16="http://schemas.microsoft.com/office/drawing/2014/main" id="{C8952483-8AC7-4EF8-B0E5-CB21B939F01F}"/>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37" name="Freeform: Shape 36">
              <a:extLst>
                <a:ext uri="{FF2B5EF4-FFF2-40B4-BE49-F238E27FC236}">
                  <a16:creationId xmlns:a16="http://schemas.microsoft.com/office/drawing/2014/main" id="{7D59C2FE-BA22-4915-B1E2-2D920CE108F6}"/>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38" name="Freeform: Shape 37">
              <a:extLst>
                <a:ext uri="{FF2B5EF4-FFF2-40B4-BE49-F238E27FC236}">
                  <a16:creationId xmlns:a16="http://schemas.microsoft.com/office/drawing/2014/main" id="{6FFCC2B5-4CCD-43F6-8C15-6647B184065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39" name="Freeform: Shape 38">
              <a:extLst>
                <a:ext uri="{FF2B5EF4-FFF2-40B4-BE49-F238E27FC236}">
                  <a16:creationId xmlns:a16="http://schemas.microsoft.com/office/drawing/2014/main" id="{B51BBD9B-D327-48C5-89EB-7667B4D63567}"/>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8743D6EC-2967-4C27-8B9A-03A0D21C339D}"/>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38337874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58"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9684706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24938412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08043708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596284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4255316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51787521"/>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7075971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6423057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9769072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 image_#_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51" name="Picture Placeholder 50">
            <a:extLst>
              <a:ext uri="{FF2B5EF4-FFF2-40B4-BE49-F238E27FC236}">
                <a16:creationId xmlns:a16="http://schemas.microsoft.com/office/drawing/2014/main" id="{846F1236-7B73-4879-BBE5-FC65A24DACE6}"/>
              </a:ext>
            </a:extLst>
          </p:cNvPr>
          <p:cNvSpPr>
            <a:spLocks noGrp="1"/>
          </p:cNvSpPr>
          <p:nvPr>
            <p:ph type="pic" sz="quarter" idx="11" hasCustomPrompt="1"/>
          </p:nvPr>
        </p:nvSpPr>
        <p:spPr>
          <a:xfrm>
            <a:off x="0" y="0"/>
            <a:ext cx="12070800" cy="6854904"/>
          </a:xfrm>
          <a:custGeom>
            <a:avLst/>
            <a:gdLst>
              <a:gd name="connsiteX0" fmla="*/ 7734036 w 12070800"/>
              <a:gd name="connsiteY0" fmla="*/ 2179664 h 6854904"/>
              <a:gd name="connsiteX1" fmla="*/ 7538877 w 12070800"/>
              <a:gd name="connsiteY1" fmla="*/ 3055673 h 6854904"/>
              <a:gd name="connsiteX2" fmla="*/ 7734036 w 12070800"/>
              <a:gd name="connsiteY2" fmla="*/ 3933289 h 6854904"/>
              <a:gd name="connsiteX3" fmla="*/ 7969517 w 12070800"/>
              <a:gd name="connsiteY3" fmla="*/ 3823989 h 6854904"/>
              <a:gd name="connsiteX4" fmla="*/ 7800164 w 12070800"/>
              <a:gd name="connsiteY4" fmla="*/ 3055673 h 6854904"/>
              <a:gd name="connsiteX5" fmla="*/ 7969517 w 12070800"/>
              <a:gd name="connsiteY5" fmla="*/ 2288965 h 6854904"/>
              <a:gd name="connsiteX6" fmla="*/ 7734036 w 12070800"/>
              <a:gd name="connsiteY6" fmla="*/ 2179664 h 6854904"/>
              <a:gd name="connsiteX7" fmla="*/ 10101110 w 12070800"/>
              <a:gd name="connsiteY7" fmla="*/ 1589409 h 6854904"/>
              <a:gd name="connsiteX8" fmla="*/ 9917679 w 12070800"/>
              <a:gd name="connsiteY8" fmla="*/ 1772625 h 6854904"/>
              <a:gd name="connsiteX9" fmla="*/ 10450272 w 12070800"/>
              <a:gd name="connsiteY9" fmla="*/ 3056745 h 6854904"/>
              <a:gd name="connsiteX10" fmla="*/ 9917679 w 12070800"/>
              <a:gd name="connsiteY10" fmla="*/ 4339257 h 6854904"/>
              <a:gd name="connsiteX11" fmla="*/ 10101110 w 12070800"/>
              <a:gd name="connsiteY11" fmla="*/ 4522473 h 6854904"/>
              <a:gd name="connsiteX12" fmla="*/ 10709328 w 12070800"/>
              <a:gd name="connsiteY12" fmla="*/ 3056745 h 6854904"/>
              <a:gd name="connsiteX13" fmla="*/ 10101110 w 12070800"/>
              <a:gd name="connsiteY13" fmla="*/ 1589409 h 6854904"/>
              <a:gd name="connsiteX14" fmla="*/ 0 w 12070800"/>
              <a:gd name="connsiteY14" fmla="*/ 0 h 6854904"/>
              <a:gd name="connsiteX15" fmla="*/ 12070800 w 12070800"/>
              <a:gd name="connsiteY15" fmla="*/ 0 h 6854904"/>
              <a:gd name="connsiteX16" fmla="*/ 12070800 w 12070800"/>
              <a:gd name="connsiteY16" fmla="*/ 6854904 h 6854904"/>
              <a:gd name="connsiteX17" fmla="*/ 0 w 12070800"/>
              <a:gd name="connsiteY17" fmla="*/ 6854904 h 68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70800" h="6854904">
                <a:moveTo>
                  <a:pt x="7734036" y="2179664"/>
                </a:moveTo>
                <a:cubicBezTo>
                  <a:pt x="7609844" y="2444878"/>
                  <a:pt x="7538877" y="2742239"/>
                  <a:pt x="7538877" y="3055673"/>
                </a:cubicBezTo>
                <a:cubicBezTo>
                  <a:pt x="7538877" y="3369107"/>
                  <a:pt x="7609844" y="3666468"/>
                  <a:pt x="7734036" y="3933289"/>
                </a:cubicBezTo>
                <a:cubicBezTo>
                  <a:pt x="7969517" y="3823989"/>
                  <a:pt x="7969517" y="3823989"/>
                  <a:pt x="7969517" y="3823989"/>
                </a:cubicBezTo>
                <a:cubicBezTo>
                  <a:pt x="7861454" y="3590922"/>
                  <a:pt x="7800164" y="3330531"/>
                  <a:pt x="7800164" y="3055673"/>
                </a:cubicBezTo>
                <a:cubicBezTo>
                  <a:pt x="7800164" y="2782423"/>
                  <a:pt x="7861454" y="2522031"/>
                  <a:pt x="7969517" y="2288965"/>
                </a:cubicBezTo>
                <a:cubicBezTo>
                  <a:pt x="7734036" y="2179664"/>
                  <a:pt x="7734036" y="2179664"/>
                  <a:pt x="7734036" y="2179664"/>
                </a:cubicBezTo>
                <a:close/>
                <a:moveTo>
                  <a:pt x="10101110" y="1589409"/>
                </a:moveTo>
                <a:cubicBezTo>
                  <a:pt x="9917679" y="1772625"/>
                  <a:pt x="9917679" y="1772625"/>
                  <a:pt x="9917679" y="1772625"/>
                </a:cubicBezTo>
                <a:cubicBezTo>
                  <a:pt x="10245924" y="2100485"/>
                  <a:pt x="10450272" y="2555312"/>
                  <a:pt x="10450272" y="3056745"/>
                </a:cubicBezTo>
                <a:cubicBezTo>
                  <a:pt x="10450272" y="3556571"/>
                  <a:pt x="10245924" y="4011397"/>
                  <a:pt x="9917679" y="4339257"/>
                </a:cubicBezTo>
                <a:cubicBezTo>
                  <a:pt x="10101110" y="4522473"/>
                  <a:pt x="10101110" y="4522473"/>
                  <a:pt x="10101110" y="4522473"/>
                </a:cubicBezTo>
                <a:cubicBezTo>
                  <a:pt x="10476017" y="4146398"/>
                  <a:pt x="10709328" y="3628893"/>
                  <a:pt x="10709328" y="3056745"/>
                </a:cubicBezTo>
                <a:cubicBezTo>
                  <a:pt x="10709328" y="2482989"/>
                  <a:pt x="10476017" y="1965484"/>
                  <a:pt x="10101110" y="1589409"/>
                </a:cubicBezTo>
                <a:close/>
                <a:moveTo>
                  <a:pt x="0" y="0"/>
                </a:moveTo>
                <a:lnTo>
                  <a:pt x="12070800" y="0"/>
                </a:lnTo>
                <a:lnTo>
                  <a:pt x="12070800" y="6854904"/>
                </a:lnTo>
                <a:lnTo>
                  <a:pt x="0" y="6854904"/>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grpSp>
        <p:nvGrpSpPr>
          <p:cNvPr id="10" name="Group 9">
            <a:extLst>
              <a:ext uri="{FF2B5EF4-FFF2-40B4-BE49-F238E27FC236}">
                <a16:creationId xmlns:a16="http://schemas.microsoft.com/office/drawing/2014/main" id="{0A4ED5BF-7EB8-4EC5-97EE-F65C915039C3}"/>
              </a:ext>
            </a:extLst>
          </p:cNvPr>
          <p:cNvGrpSpPr/>
          <p:nvPr userDrawn="1"/>
        </p:nvGrpSpPr>
        <p:grpSpPr>
          <a:xfrm>
            <a:off x="12073965" y="-3096"/>
            <a:ext cx="127000" cy="6858000"/>
            <a:chOff x="12073965" y="-3096"/>
            <a:chExt cx="127000" cy="6096000"/>
          </a:xfrm>
        </p:grpSpPr>
        <p:sp>
          <p:nvSpPr>
            <p:cNvPr id="11" name="Freeform: Shape 10">
              <a:extLst>
                <a:ext uri="{FF2B5EF4-FFF2-40B4-BE49-F238E27FC236}">
                  <a16:creationId xmlns:a16="http://schemas.microsoft.com/office/drawing/2014/main" id="{567036EB-7B3E-4BA9-80DC-D87D258C3E99}"/>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27A1B4FD-4C7F-4E46-B685-E60BC659DF85}"/>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48405322-542C-4EFC-AC06-DA5B6E83A73F}"/>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E471476F-91BA-4FE8-89DB-FF8C314A73F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A4F7BFB4-FB5D-4FCB-A390-2C5EED5D825B}"/>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2D8798F9-A4D7-46E5-8469-FCBAB6FDEC8A}"/>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FF15618D-9000-4671-B100-2EC2F006611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3026BC31-7F6B-42B4-8174-F3EEE0C8B4F5}"/>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DA49DCE4-B16E-40C6-A3DC-000BBB4D3C0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C8D1C917-C802-4EED-AD47-08F839DD725A}"/>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BA5714DA-FAEB-49F5-BCBE-9A852BDA8CB6}"/>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E8673559-2CA6-4000-A87F-9DD2D72C273B}"/>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A1391F0C-B742-4AC8-B2CE-DACBEB917EA0}"/>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B0CFA9B7-F3C1-4749-BF65-DCE9933C8F9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67DA94CA-49F5-420E-9F19-AC9F64844EE2}"/>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CF87225A-8FB8-4D9E-914E-C6307806550B}"/>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9224276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accent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49"/>
            <a:ext cx="2519362" cy="1595919"/>
          </a:xfrm>
        </p:spPr>
        <p:txBody>
          <a:bodyPr anchor="ctr">
            <a:noAutofit/>
          </a:bodyPr>
          <a:lstStyle>
            <a:lvl1pPr marL="0" indent="0" algn="ctr">
              <a:buNone/>
              <a:defRPr sz="12000"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60337310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40503911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64722275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19044409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8545260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387194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1810650225"/>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image_#_2">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30" name="Picture Placeholder 29">
            <a:extLst>
              <a:ext uri="{FF2B5EF4-FFF2-40B4-BE49-F238E27FC236}">
                <a16:creationId xmlns:a16="http://schemas.microsoft.com/office/drawing/2014/main" id="{AD48ED69-054E-4E64-B267-2B43A161B311}"/>
              </a:ext>
            </a:extLst>
          </p:cNvPr>
          <p:cNvSpPr>
            <a:spLocks noGrp="1"/>
          </p:cNvSpPr>
          <p:nvPr>
            <p:ph type="pic" sz="quarter" idx="12" hasCustomPrompt="1"/>
          </p:nvPr>
        </p:nvSpPr>
        <p:spPr>
          <a:xfrm>
            <a:off x="0" y="0"/>
            <a:ext cx="12070800" cy="6854904"/>
          </a:xfrm>
          <a:custGeom>
            <a:avLst/>
            <a:gdLst>
              <a:gd name="connsiteX0" fmla="*/ 1542759 w 12070800"/>
              <a:gd name="connsiteY0" fmla="*/ 1568941 h 6854904"/>
              <a:gd name="connsiteX1" fmla="*/ 1347600 w 12070800"/>
              <a:gd name="connsiteY1" fmla="*/ 2444950 h 6854904"/>
              <a:gd name="connsiteX2" fmla="*/ 1542759 w 12070800"/>
              <a:gd name="connsiteY2" fmla="*/ 3322566 h 6854904"/>
              <a:gd name="connsiteX3" fmla="*/ 1778240 w 12070800"/>
              <a:gd name="connsiteY3" fmla="*/ 3213266 h 6854904"/>
              <a:gd name="connsiteX4" fmla="*/ 1608888 w 12070800"/>
              <a:gd name="connsiteY4" fmla="*/ 2444950 h 6854904"/>
              <a:gd name="connsiteX5" fmla="*/ 1778240 w 12070800"/>
              <a:gd name="connsiteY5" fmla="*/ 1678241 h 6854904"/>
              <a:gd name="connsiteX6" fmla="*/ 1542759 w 12070800"/>
              <a:gd name="connsiteY6" fmla="*/ 1568941 h 6854904"/>
              <a:gd name="connsiteX7" fmla="*/ 3909833 w 12070800"/>
              <a:gd name="connsiteY7" fmla="*/ 978686 h 6854904"/>
              <a:gd name="connsiteX8" fmla="*/ 3726402 w 12070800"/>
              <a:gd name="connsiteY8" fmla="*/ 1161902 h 6854904"/>
              <a:gd name="connsiteX9" fmla="*/ 4258996 w 12070800"/>
              <a:gd name="connsiteY9" fmla="*/ 2446022 h 6854904"/>
              <a:gd name="connsiteX10" fmla="*/ 3726402 w 12070800"/>
              <a:gd name="connsiteY10" fmla="*/ 3728534 h 6854904"/>
              <a:gd name="connsiteX11" fmla="*/ 3909833 w 12070800"/>
              <a:gd name="connsiteY11" fmla="*/ 3911750 h 6854904"/>
              <a:gd name="connsiteX12" fmla="*/ 4518051 w 12070800"/>
              <a:gd name="connsiteY12" fmla="*/ 2446022 h 6854904"/>
              <a:gd name="connsiteX13" fmla="*/ 3909833 w 12070800"/>
              <a:gd name="connsiteY13" fmla="*/ 978686 h 6854904"/>
              <a:gd name="connsiteX14" fmla="*/ 0 w 12070800"/>
              <a:gd name="connsiteY14" fmla="*/ 0 h 6854904"/>
              <a:gd name="connsiteX15" fmla="*/ 12070800 w 12070800"/>
              <a:gd name="connsiteY15" fmla="*/ 0 h 6854904"/>
              <a:gd name="connsiteX16" fmla="*/ 12070800 w 12070800"/>
              <a:gd name="connsiteY16" fmla="*/ 6854904 h 6854904"/>
              <a:gd name="connsiteX17" fmla="*/ 0 w 12070800"/>
              <a:gd name="connsiteY17" fmla="*/ 6854904 h 68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70800" h="6854904">
                <a:moveTo>
                  <a:pt x="1542759" y="1568941"/>
                </a:moveTo>
                <a:cubicBezTo>
                  <a:pt x="1418567" y="1834155"/>
                  <a:pt x="1347600" y="2131516"/>
                  <a:pt x="1347600" y="2444950"/>
                </a:cubicBezTo>
                <a:cubicBezTo>
                  <a:pt x="1347600" y="2758384"/>
                  <a:pt x="1418567" y="3055745"/>
                  <a:pt x="1542759" y="3322566"/>
                </a:cubicBezTo>
                <a:cubicBezTo>
                  <a:pt x="1778240" y="3213266"/>
                  <a:pt x="1778240" y="3213266"/>
                  <a:pt x="1778240" y="3213266"/>
                </a:cubicBezTo>
                <a:cubicBezTo>
                  <a:pt x="1670177" y="2980200"/>
                  <a:pt x="1608888" y="2719808"/>
                  <a:pt x="1608888" y="2444950"/>
                </a:cubicBezTo>
                <a:cubicBezTo>
                  <a:pt x="1608888" y="2171700"/>
                  <a:pt x="1670177" y="1911308"/>
                  <a:pt x="1778240" y="1678241"/>
                </a:cubicBezTo>
                <a:cubicBezTo>
                  <a:pt x="1542759" y="1568941"/>
                  <a:pt x="1542759" y="1568941"/>
                  <a:pt x="1542759" y="1568941"/>
                </a:cubicBezTo>
                <a:close/>
                <a:moveTo>
                  <a:pt x="3909833" y="978686"/>
                </a:moveTo>
                <a:cubicBezTo>
                  <a:pt x="3726402" y="1161902"/>
                  <a:pt x="3726402" y="1161902"/>
                  <a:pt x="3726402" y="1161902"/>
                </a:cubicBezTo>
                <a:cubicBezTo>
                  <a:pt x="4054647" y="1489762"/>
                  <a:pt x="4258996" y="1944588"/>
                  <a:pt x="4258996" y="2446022"/>
                </a:cubicBezTo>
                <a:cubicBezTo>
                  <a:pt x="4258996" y="2945848"/>
                  <a:pt x="4054647" y="3400674"/>
                  <a:pt x="3726402" y="3728534"/>
                </a:cubicBezTo>
                <a:cubicBezTo>
                  <a:pt x="3909833" y="3911750"/>
                  <a:pt x="3909833" y="3911750"/>
                  <a:pt x="3909833" y="3911750"/>
                </a:cubicBezTo>
                <a:cubicBezTo>
                  <a:pt x="4284741" y="3535675"/>
                  <a:pt x="4518051" y="3018170"/>
                  <a:pt x="4518051" y="2446022"/>
                </a:cubicBezTo>
                <a:cubicBezTo>
                  <a:pt x="4518051" y="1872266"/>
                  <a:pt x="4284741" y="1354761"/>
                  <a:pt x="3909833" y="978686"/>
                </a:cubicBezTo>
                <a:close/>
                <a:moveTo>
                  <a:pt x="0" y="0"/>
                </a:moveTo>
                <a:lnTo>
                  <a:pt x="12070800" y="0"/>
                </a:lnTo>
                <a:lnTo>
                  <a:pt x="12070800" y="6854904"/>
                </a:lnTo>
                <a:lnTo>
                  <a:pt x="0" y="6854904"/>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grpSp>
        <p:nvGrpSpPr>
          <p:cNvPr id="11" name="Group 10">
            <a:extLst>
              <a:ext uri="{FF2B5EF4-FFF2-40B4-BE49-F238E27FC236}">
                <a16:creationId xmlns:a16="http://schemas.microsoft.com/office/drawing/2014/main" id="{34060F2A-46C7-403A-A359-4B3F6A8AE7F3}"/>
              </a:ext>
            </a:extLst>
          </p:cNvPr>
          <p:cNvGrpSpPr/>
          <p:nvPr userDrawn="1"/>
        </p:nvGrpSpPr>
        <p:grpSpPr>
          <a:xfrm>
            <a:off x="12073965" y="-3096"/>
            <a:ext cx="127000" cy="6858000"/>
            <a:chOff x="12073965" y="-3096"/>
            <a:chExt cx="127000" cy="6096000"/>
          </a:xfrm>
        </p:grpSpPr>
        <p:sp>
          <p:nvSpPr>
            <p:cNvPr id="12" name="Freeform: Shape 11">
              <a:extLst>
                <a:ext uri="{FF2B5EF4-FFF2-40B4-BE49-F238E27FC236}">
                  <a16:creationId xmlns:a16="http://schemas.microsoft.com/office/drawing/2014/main" id="{72894A61-8914-4459-8994-90AB18628735}"/>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F19F7D1D-310F-49AA-BABD-2AF3BF8A24A3}"/>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115ACCCA-7C37-4BF1-92BE-C575516204DA}"/>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99CF9EBE-5985-4567-9479-F27EE95DBFBC}"/>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3EF7FBEC-5DC3-4F1F-83F6-B3BCA78DF5C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2866F78D-B12A-432C-90E3-A45779497EFF}"/>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BB64B567-A23F-4B4B-AC47-253C48F01104}"/>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A3F18456-903A-4121-9765-44B8D20DC8B5}"/>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F703043E-0C56-4BD5-B4CD-CEBFF40EC2C3}"/>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05725795-A5FD-4392-9BC1-77E52C9AC664}"/>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2A35CBC5-297A-459D-8030-D01E556589F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65981167-9A61-4D35-951E-991CA7C63524}"/>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E03B678D-1D82-45AB-9529-D0FE580ADAF1}"/>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F619D972-94F0-4D20-AEE3-4F7DBB279550}"/>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B0D15ACB-E68F-448C-A65B-3DAB528AD7B3}"/>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9" name="Freeform: Shape 28">
              <a:extLst>
                <a:ext uri="{FF2B5EF4-FFF2-40B4-BE49-F238E27FC236}">
                  <a16:creationId xmlns:a16="http://schemas.microsoft.com/office/drawing/2014/main" id="{E56D057F-03D6-4CDD-89FD-D41FF893DAD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0">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164175329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7239812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22167732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2211373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191030698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2579001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51567165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userDrawn="1"/>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a:p>
          </p:txBody>
        </p:sp>
      </p:grpSp>
    </p:spTree>
    <p:extLst>
      <p:ext uri="{BB962C8B-B14F-4D97-AF65-F5344CB8AC3E}">
        <p14:creationId xmlns:p14="http://schemas.microsoft.com/office/powerpoint/2010/main" val="330847087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ivider image">
    <p:bg>
      <p:bgPr>
        <a:solidFill>
          <a:schemeClr val="bg1"/>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13920D82-30E1-4F56-A3B9-79F12E92EFE1}"/>
              </a:ext>
            </a:extLst>
          </p:cNvPr>
          <p:cNvSpPr>
            <a:spLocks noGrp="1"/>
          </p:cNvSpPr>
          <p:nvPr>
            <p:ph type="pic" sz="quarter" idx="10" hasCustomPrompt="1"/>
          </p:nvPr>
        </p:nvSpPr>
        <p:spPr>
          <a:xfrm>
            <a:off x="0" y="0"/>
            <a:ext cx="12070800" cy="6854904"/>
          </a:xfrm>
          <a:solidFill>
            <a:schemeClr val="tx2">
              <a:lumMod val="20000"/>
              <a:lumOff val="80000"/>
            </a:schemeClr>
          </a:solidFill>
        </p:spPr>
        <p:txBody>
          <a:bodyPr>
            <a:normAutofit/>
          </a:bodyPr>
          <a:lstStyle>
            <a:lvl1pPr marL="0" indent="0" algn="ctr">
              <a:buNone/>
              <a:defRPr sz="2000"/>
            </a:lvl1pPr>
          </a:lstStyle>
          <a:p>
            <a:r>
              <a:rPr lang="en-GB" dirty="0"/>
              <a:t>Add picture</a:t>
            </a:r>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grpSp>
        <p:nvGrpSpPr>
          <p:cNvPr id="5" name="Group 4">
            <a:extLst>
              <a:ext uri="{FF2B5EF4-FFF2-40B4-BE49-F238E27FC236}">
                <a16:creationId xmlns:a16="http://schemas.microsoft.com/office/drawing/2014/main" id="{F147C73E-190D-4C45-BAED-91EBBDBAC385}"/>
              </a:ext>
            </a:extLst>
          </p:cNvPr>
          <p:cNvGrpSpPr/>
          <p:nvPr userDrawn="1"/>
        </p:nvGrpSpPr>
        <p:grpSpPr>
          <a:xfrm>
            <a:off x="12073965" y="-3096"/>
            <a:ext cx="127000" cy="6858000"/>
            <a:chOff x="12073965" y="-3096"/>
            <a:chExt cx="127000" cy="6096000"/>
          </a:xfrm>
        </p:grpSpPr>
        <p:sp>
          <p:nvSpPr>
            <p:cNvPr id="6" name="Freeform: Shape 5">
              <a:extLst>
                <a:ext uri="{FF2B5EF4-FFF2-40B4-BE49-F238E27FC236}">
                  <a16:creationId xmlns:a16="http://schemas.microsoft.com/office/drawing/2014/main" id="{F89B5E4D-233E-417D-B610-5B257689A98A}"/>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8" name="Freeform: Shape 7">
              <a:extLst>
                <a:ext uri="{FF2B5EF4-FFF2-40B4-BE49-F238E27FC236}">
                  <a16:creationId xmlns:a16="http://schemas.microsoft.com/office/drawing/2014/main" id="{4A44675D-62F2-498C-9473-818719D40EEA}"/>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9" name="Freeform: Shape 8">
              <a:extLst>
                <a:ext uri="{FF2B5EF4-FFF2-40B4-BE49-F238E27FC236}">
                  <a16:creationId xmlns:a16="http://schemas.microsoft.com/office/drawing/2014/main" id="{77B15CF8-7D63-4C50-919B-420173C6E79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0" name="Freeform: Shape 9">
              <a:extLst>
                <a:ext uri="{FF2B5EF4-FFF2-40B4-BE49-F238E27FC236}">
                  <a16:creationId xmlns:a16="http://schemas.microsoft.com/office/drawing/2014/main" id="{4AB5FDE3-7BB3-45A6-9F4E-B8BFA7588B9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1" name="Freeform: Shape 10">
              <a:extLst>
                <a:ext uri="{FF2B5EF4-FFF2-40B4-BE49-F238E27FC236}">
                  <a16:creationId xmlns:a16="http://schemas.microsoft.com/office/drawing/2014/main" id="{E6AF2CFF-FE15-47C6-BF55-1AD8CAD388E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1C2C050D-ED8C-45B0-855C-B7985E907AF8}"/>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6E3DE7B2-6CF7-4E27-95A1-8930641464CC}"/>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18942A9A-0128-454E-B716-59E866C2691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31A5D6D9-69DE-4419-BDEF-923C6B51FAEC}"/>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11CD6207-5BE4-4F9D-88FE-1DDD8A1EB5C5}"/>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5A1567CD-BE2D-4D38-880E-28879A28B040}"/>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8521BA6A-E533-47A0-BB4F-E38B561A8FC1}"/>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45F6ECF2-242F-460D-BB2C-3FBF0B3FB5E6}"/>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13FA1CC3-BDE0-4D88-92D6-BC5BF7F0AEB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19A113E5-74E7-4228-9D88-91C2E9424F9C}"/>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3997116E-FCD7-4077-8176-5F30B39E61C1}"/>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10096206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6" y="1341438"/>
            <a:ext cx="10415016" cy="4236402"/>
          </a:xfrm>
          <a:prstGeom prst="rect">
            <a:avLst/>
          </a:prstGeom>
        </p:spPr>
      </p:pic>
    </p:spTree>
    <p:extLst>
      <p:ext uri="{BB962C8B-B14F-4D97-AF65-F5344CB8AC3E}">
        <p14:creationId xmlns:p14="http://schemas.microsoft.com/office/powerpoint/2010/main" val="2722898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437302237"/>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hank you whit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674"/>
            <a:ext cx="12067954" cy="6800794"/>
          </a:xfrm>
          <a:prstGeom prst="rect">
            <a:avLst/>
          </a:prstGeom>
        </p:spPr>
      </p:pic>
    </p:spTree>
    <p:extLst>
      <p:ext uri="{BB962C8B-B14F-4D97-AF65-F5344CB8AC3E}">
        <p14:creationId xmlns:p14="http://schemas.microsoft.com/office/powerpoint/2010/main" val="17184058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ank you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496965" y="1033094"/>
            <a:ext cx="10415016" cy="4236402"/>
          </a:xfrm>
          <a:prstGeom prst="rect">
            <a:avLst/>
          </a:prstGeom>
        </p:spPr>
      </p:pic>
      <p:sp>
        <p:nvSpPr>
          <p:cNvPr id="71" name="Picture Placeholder 70">
            <a:extLst>
              <a:ext uri="{FF2B5EF4-FFF2-40B4-BE49-F238E27FC236}">
                <a16:creationId xmlns:a16="http://schemas.microsoft.com/office/drawing/2014/main" id="{76CBD0D0-7088-4D31-88D7-7616D962CAFE}"/>
              </a:ext>
            </a:extLst>
          </p:cNvPr>
          <p:cNvSpPr>
            <a:spLocks noGrp="1"/>
          </p:cNvSpPr>
          <p:nvPr>
            <p:ph type="pic" sz="quarter" idx="10" hasCustomPrompt="1"/>
          </p:nvPr>
        </p:nvSpPr>
        <p:spPr>
          <a:xfrm>
            <a:off x="2" y="2"/>
            <a:ext cx="12070798" cy="6857999"/>
          </a:xfrm>
          <a:custGeom>
            <a:avLst/>
            <a:gdLst>
              <a:gd name="connsiteX0" fmla="*/ 4491748 w 12070798"/>
              <a:gd name="connsiteY0" fmla="*/ 3650991 h 6857999"/>
              <a:gd name="connsiteX1" fmla="*/ 4491748 w 12070798"/>
              <a:gd name="connsiteY1" fmla="*/ 3827204 h 6857999"/>
              <a:gd name="connsiteX2" fmla="*/ 4379034 w 12070798"/>
              <a:gd name="connsiteY2" fmla="*/ 3841491 h 6857999"/>
              <a:gd name="connsiteX3" fmla="*/ 4239334 w 12070798"/>
              <a:gd name="connsiteY3" fmla="*/ 3749416 h 6857999"/>
              <a:gd name="connsiteX4" fmla="*/ 4361572 w 12070798"/>
              <a:gd name="connsiteY4" fmla="*/ 3660516 h 6857999"/>
              <a:gd name="connsiteX5" fmla="*/ 4491748 w 12070798"/>
              <a:gd name="connsiteY5" fmla="*/ 3650991 h 6857999"/>
              <a:gd name="connsiteX6" fmla="*/ 7923921 w 12070798"/>
              <a:gd name="connsiteY6" fmla="*/ 3370005 h 6857999"/>
              <a:gd name="connsiteX7" fmla="*/ 8082671 w 12070798"/>
              <a:gd name="connsiteY7" fmla="*/ 3605743 h 6857999"/>
              <a:gd name="connsiteX8" fmla="*/ 7923921 w 12070798"/>
              <a:gd name="connsiteY8" fmla="*/ 3838317 h 6857999"/>
              <a:gd name="connsiteX9" fmla="*/ 7766759 w 12070798"/>
              <a:gd name="connsiteY9" fmla="*/ 3605743 h 6857999"/>
              <a:gd name="connsiteX10" fmla="*/ 7923921 w 12070798"/>
              <a:gd name="connsiteY10" fmla="*/ 3370005 h 6857999"/>
              <a:gd name="connsiteX11" fmla="*/ 6777746 w 12070798"/>
              <a:gd name="connsiteY11" fmla="*/ 3230305 h 6857999"/>
              <a:gd name="connsiteX12" fmla="*/ 7019046 w 12070798"/>
              <a:gd name="connsiteY12" fmla="*/ 3978499 h 6857999"/>
              <a:gd name="connsiteX13" fmla="*/ 7098421 w 12070798"/>
              <a:gd name="connsiteY13" fmla="*/ 3978499 h 6857999"/>
              <a:gd name="connsiteX14" fmla="*/ 6934908 w 12070798"/>
              <a:gd name="connsiteY14" fmla="*/ 4138600 h 6857999"/>
              <a:gd name="connsiteX15" fmla="*/ 6769808 w 12070798"/>
              <a:gd name="connsiteY15" fmla="*/ 4105312 h 6857999"/>
              <a:gd name="connsiteX16" fmla="*/ 6790446 w 12070798"/>
              <a:gd name="connsiteY16" fmla="*/ 4281265 h 6857999"/>
              <a:gd name="connsiteX17" fmla="*/ 6974596 w 12070798"/>
              <a:gd name="connsiteY17" fmla="*/ 4305042 h 6857999"/>
              <a:gd name="connsiteX18" fmla="*/ 7276221 w 12070798"/>
              <a:gd name="connsiteY18" fmla="*/ 3992766 h 6857999"/>
              <a:gd name="connsiteX19" fmla="*/ 7525458 w 12070798"/>
              <a:gd name="connsiteY19" fmla="*/ 3230305 h 6857999"/>
              <a:gd name="connsiteX20" fmla="*/ 7333371 w 12070798"/>
              <a:gd name="connsiteY20" fmla="*/ 3230305 h 6857999"/>
              <a:gd name="connsiteX21" fmla="*/ 7157158 w 12070798"/>
              <a:gd name="connsiteY21" fmla="*/ 3791451 h 6857999"/>
              <a:gd name="connsiteX22" fmla="*/ 6987296 w 12070798"/>
              <a:gd name="connsiteY22" fmla="*/ 3230305 h 6857999"/>
              <a:gd name="connsiteX23" fmla="*/ 6777746 w 12070798"/>
              <a:gd name="connsiteY23" fmla="*/ 3230305 h 6857999"/>
              <a:gd name="connsiteX24" fmla="*/ 8620832 w 12070798"/>
              <a:gd name="connsiteY24" fmla="*/ 3219191 h 6857999"/>
              <a:gd name="connsiteX25" fmla="*/ 8416045 w 12070798"/>
              <a:gd name="connsiteY25" fmla="*/ 3242956 h 6857999"/>
              <a:gd name="connsiteX26" fmla="*/ 8416045 w 12070798"/>
              <a:gd name="connsiteY26" fmla="*/ 3705565 h 6857999"/>
              <a:gd name="connsiteX27" fmla="*/ 8736720 w 12070798"/>
              <a:gd name="connsiteY27" fmla="*/ 4000241 h 6857999"/>
              <a:gd name="connsiteX28" fmla="*/ 9079620 w 12070798"/>
              <a:gd name="connsiteY28" fmla="*/ 3946376 h 6857999"/>
              <a:gd name="connsiteX29" fmla="*/ 9079620 w 12070798"/>
              <a:gd name="connsiteY29" fmla="*/ 3219191 h 6857999"/>
              <a:gd name="connsiteX30" fmla="*/ 8873245 w 12070798"/>
              <a:gd name="connsiteY30" fmla="*/ 3242956 h 6857999"/>
              <a:gd name="connsiteX31" fmla="*/ 8873245 w 12070798"/>
              <a:gd name="connsiteY31" fmla="*/ 3818049 h 6857999"/>
              <a:gd name="connsiteX32" fmla="*/ 8760532 w 12070798"/>
              <a:gd name="connsiteY32" fmla="*/ 3832307 h 6857999"/>
              <a:gd name="connsiteX33" fmla="*/ 8620832 w 12070798"/>
              <a:gd name="connsiteY33" fmla="*/ 3675464 h 6857999"/>
              <a:gd name="connsiteX34" fmla="*/ 8620832 w 12070798"/>
              <a:gd name="connsiteY34" fmla="*/ 3219191 h 6857999"/>
              <a:gd name="connsiteX35" fmla="*/ 7923921 w 12070798"/>
              <a:gd name="connsiteY35" fmla="*/ 3209667 h 6857999"/>
              <a:gd name="connsiteX36" fmla="*/ 7549271 w 12070798"/>
              <a:gd name="connsiteY36" fmla="*/ 3605746 h 6857999"/>
              <a:gd name="connsiteX37" fmla="*/ 7923921 w 12070798"/>
              <a:gd name="connsiteY37" fmla="*/ 4000241 h 6857999"/>
              <a:gd name="connsiteX38" fmla="*/ 8300159 w 12070798"/>
              <a:gd name="connsiteY38" fmla="*/ 3605746 h 6857999"/>
              <a:gd name="connsiteX39" fmla="*/ 7923921 w 12070798"/>
              <a:gd name="connsiteY39" fmla="*/ 3209667 h 6857999"/>
              <a:gd name="connsiteX40" fmla="*/ 5195009 w 12070798"/>
              <a:gd name="connsiteY40" fmla="*/ 3209667 h 6857999"/>
              <a:gd name="connsiteX41" fmla="*/ 4956884 w 12070798"/>
              <a:gd name="connsiteY41" fmla="*/ 3257194 h 6857999"/>
              <a:gd name="connsiteX42" fmla="*/ 4852109 w 12070798"/>
              <a:gd name="connsiteY42" fmla="*/ 3225508 h 6857999"/>
              <a:gd name="connsiteX43" fmla="*/ 4852109 w 12070798"/>
              <a:gd name="connsiteY43" fmla="*/ 3978016 h 6857999"/>
              <a:gd name="connsiteX44" fmla="*/ 5055309 w 12070798"/>
              <a:gd name="connsiteY44" fmla="*/ 3978016 h 6857999"/>
              <a:gd name="connsiteX45" fmla="*/ 5055309 w 12070798"/>
              <a:gd name="connsiteY45" fmla="*/ 3410863 h 6857999"/>
              <a:gd name="connsiteX46" fmla="*/ 5180721 w 12070798"/>
              <a:gd name="connsiteY46" fmla="*/ 3376010 h 6857999"/>
              <a:gd name="connsiteX47" fmla="*/ 5315659 w 12070798"/>
              <a:gd name="connsiteY47" fmla="*/ 3534433 h 6857999"/>
              <a:gd name="connsiteX48" fmla="*/ 5315659 w 12070798"/>
              <a:gd name="connsiteY48" fmla="*/ 3978016 h 6857999"/>
              <a:gd name="connsiteX49" fmla="*/ 5520446 w 12070798"/>
              <a:gd name="connsiteY49" fmla="*/ 3978016 h 6857999"/>
              <a:gd name="connsiteX50" fmla="*/ 5520446 w 12070798"/>
              <a:gd name="connsiteY50" fmla="*/ 3502748 h 6857999"/>
              <a:gd name="connsiteX51" fmla="*/ 5195009 w 12070798"/>
              <a:gd name="connsiteY51" fmla="*/ 3209667 h 6857999"/>
              <a:gd name="connsiteX52" fmla="*/ 4361572 w 12070798"/>
              <a:gd name="connsiteY52" fmla="*/ 3209667 h 6857999"/>
              <a:gd name="connsiteX53" fmla="*/ 4117097 w 12070798"/>
              <a:gd name="connsiteY53" fmla="*/ 3242938 h 6857999"/>
              <a:gd name="connsiteX54" fmla="*/ 4101221 w 12070798"/>
              <a:gd name="connsiteY54" fmla="*/ 3407707 h 6857999"/>
              <a:gd name="connsiteX55" fmla="*/ 4353634 w 12070798"/>
              <a:gd name="connsiteY55" fmla="*/ 3369683 h 6857999"/>
              <a:gd name="connsiteX56" fmla="*/ 4491746 w 12070798"/>
              <a:gd name="connsiteY56" fmla="*/ 3469494 h 6857999"/>
              <a:gd name="connsiteX57" fmla="*/ 4491746 w 12070798"/>
              <a:gd name="connsiteY57" fmla="*/ 3504349 h 6857999"/>
              <a:gd name="connsiteX58" fmla="*/ 4334584 w 12070798"/>
              <a:gd name="connsiteY58" fmla="*/ 3513855 h 6857999"/>
              <a:gd name="connsiteX59" fmla="*/ 4040897 w 12070798"/>
              <a:gd name="connsiteY59" fmla="*/ 3749919 h 6857999"/>
              <a:gd name="connsiteX60" fmla="*/ 4377446 w 12070798"/>
              <a:gd name="connsiteY60" fmla="*/ 4000241 h 6857999"/>
              <a:gd name="connsiteX61" fmla="*/ 4698120 w 12070798"/>
              <a:gd name="connsiteY61" fmla="*/ 3944790 h 6857999"/>
              <a:gd name="connsiteX62" fmla="*/ 4698120 w 12070798"/>
              <a:gd name="connsiteY62" fmla="*/ 3464741 h 6857999"/>
              <a:gd name="connsiteX63" fmla="*/ 4361572 w 12070798"/>
              <a:gd name="connsiteY63" fmla="*/ 3209667 h 6857999"/>
              <a:gd name="connsiteX64" fmla="*/ 2350210 w 12070798"/>
              <a:gd name="connsiteY64" fmla="*/ 2946142 h 6857999"/>
              <a:gd name="connsiteX65" fmla="*/ 2350210 w 12070798"/>
              <a:gd name="connsiteY65" fmla="*/ 3138230 h 6857999"/>
              <a:gd name="connsiteX66" fmla="*/ 2647073 w 12070798"/>
              <a:gd name="connsiteY66" fmla="*/ 3138230 h 6857999"/>
              <a:gd name="connsiteX67" fmla="*/ 2647073 w 12070798"/>
              <a:gd name="connsiteY67" fmla="*/ 3978016 h 6857999"/>
              <a:gd name="connsiteX68" fmla="*/ 2862973 w 12070798"/>
              <a:gd name="connsiteY68" fmla="*/ 3978016 h 6857999"/>
              <a:gd name="connsiteX69" fmla="*/ 2862973 w 12070798"/>
              <a:gd name="connsiteY69" fmla="*/ 3138230 h 6857999"/>
              <a:gd name="connsiteX70" fmla="*/ 3150311 w 12070798"/>
              <a:gd name="connsiteY70" fmla="*/ 3138230 h 6857999"/>
              <a:gd name="connsiteX71" fmla="*/ 3170948 w 12070798"/>
              <a:gd name="connsiteY71" fmla="*/ 2946142 h 6857999"/>
              <a:gd name="connsiteX72" fmla="*/ 3467809 w 12070798"/>
              <a:gd name="connsiteY72" fmla="*/ 2839780 h 6857999"/>
              <a:gd name="connsiteX73" fmla="*/ 3263022 w 12070798"/>
              <a:gd name="connsiteY73" fmla="*/ 2863559 h 6857999"/>
              <a:gd name="connsiteX74" fmla="*/ 3263022 w 12070798"/>
              <a:gd name="connsiteY74" fmla="*/ 3978017 h 6857999"/>
              <a:gd name="connsiteX75" fmla="*/ 3467809 w 12070798"/>
              <a:gd name="connsiteY75" fmla="*/ 3978017 h 6857999"/>
              <a:gd name="connsiteX76" fmla="*/ 3467809 w 12070798"/>
              <a:gd name="connsiteY76" fmla="*/ 3394631 h 6857999"/>
              <a:gd name="connsiteX77" fmla="*/ 3583697 w 12070798"/>
              <a:gd name="connsiteY77" fmla="*/ 3375608 h 6857999"/>
              <a:gd name="connsiteX78" fmla="*/ 3728159 w 12070798"/>
              <a:gd name="connsiteY78" fmla="*/ 3534136 h 6857999"/>
              <a:gd name="connsiteX79" fmla="*/ 3728159 w 12070798"/>
              <a:gd name="connsiteY79" fmla="*/ 3978017 h 6857999"/>
              <a:gd name="connsiteX80" fmla="*/ 3932946 w 12070798"/>
              <a:gd name="connsiteY80" fmla="*/ 3978017 h 6857999"/>
              <a:gd name="connsiteX81" fmla="*/ 3932946 w 12070798"/>
              <a:gd name="connsiteY81" fmla="*/ 3502430 h 6857999"/>
              <a:gd name="connsiteX82" fmla="*/ 3615446 w 12070798"/>
              <a:gd name="connsiteY82" fmla="*/ 3209152 h 6857999"/>
              <a:gd name="connsiteX83" fmla="*/ 3467809 w 12070798"/>
              <a:gd name="connsiteY83" fmla="*/ 3228175 h 6857999"/>
              <a:gd name="connsiteX84" fmla="*/ 3467809 w 12070798"/>
              <a:gd name="connsiteY84" fmla="*/ 2839780 h 6857999"/>
              <a:gd name="connsiteX85" fmla="*/ 5880808 w 12070798"/>
              <a:gd name="connsiteY85" fmla="*/ 2839780 h 6857999"/>
              <a:gd name="connsiteX86" fmla="*/ 5677608 w 12070798"/>
              <a:gd name="connsiteY86" fmla="*/ 2863592 h 6857999"/>
              <a:gd name="connsiteX87" fmla="*/ 5677608 w 12070798"/>
              <a:gd name="connsiteY87" fmla="*/ 3978017 h 6857999"/>
              <a:gd name="connsiteX88" fmla="*/ 5880808 w 12070798"/>
              <a:gd name="connsiteY88" fmla="*/ 3978017 h 6857999"/>
              <a:gd name="connsiteX89" fmla="*/ 5880808 w 12070798"/>
              <a:gd name="connsiteY89" fmla="*/ 3774817 h 6857999"/>
              <a:gd name="connsiteX90" fmla="*/ 5985583 w 12070798"/>
              <a:gd name="connsiteY90" fmla="*/ 3665280 h 6857999"/>
              <a:gd name="connsiteX91" fmla="*/ 6198308 w 12070798"/>
              <a:gd name="connsiteY91" fmla="*/ 3978017 h 6857999"/>
              <a:gd name="connsiteX92" fmla="*/ 6455483 w 12070798"/>
              <a:gd name="connsiteY92" fmla="*/ 3978017 h 6857999"/>
              <a:gd name="connsiteX93" fmla="*/ 6131633 w 12070798"/>
              <a:gd name="connsiteY93" fmla="*/ 3509704 h 6857999"/>
              <a:gd name="connsiteX94" fmla="*/ 6396746 w 12070798"/>
              <a:gd name="connsiteY94" fmla="*/ 3230305 h 6857999"/>
              <a:gd name="connsiteX95" fmla="*/ 6161796 w 12070798"/>
              <a:gd name="connsiteY95" fmla="*/ 3230305 h 6857999"/>
              <a:gd name="connsiteX96" fmla="*/ 5880808 w 12070798"/>
              <a:gd name="connsiteY96" fmla="*/ 3527167 h 6857999"/>
              <a:gd name="connsiteX97" fmla="*/ 1608846 w 12070798"/>
              <a:gd name="connsiteY97" fmla="*/ 2463541 h 6857999"/>
              <a:gd name="connsiteX98" fmla="*/ 1351670 w 12070798"/>
              <a:gd name="connsiteY98" fmla="*/ 2582505 h 6857999"/>
              <a:gd name="connsiteX99" fmla="*/ 1537408 w 12070798"/>
              <a:gd name="connsiteY99" fmla="*/ 3418423 h 6857999"/>
              <a:gd name="connsiteX100" fmla="*/ 1351670 w 12070798"/>
              <a:gd name="connsiteY100" fmla="*/ 4254341 h 6857999"/>
              <a:gd name="connsiteX101" fmla="*/ 1608846 w 12070798"/>
              <a:gd name="connsiteY101" fmla="*/ 4373304 h 6857999"/>
              <a:gd name="connsiteX102" fmla="*/ 1819983 w 12070798"/>
              <a:gd name="connsiteY102" fmla="*/ 3418423 h 6857999"/>
              <a:gd name="connsiteX103" fmla="*/ 1608846 w 12070798"/>
              <a:gd name="connsiteY103" fmla="*/ 2463541 h 6857999"/>
              <a:gd name="connsiteX104" fmla="*/ 10546471 w 12070798"/>
              <a:gd name="connsiteY104" fmla="*/ 1568191 h 6857999"/>
              <a:gd name="connsiteX105" fmla="*/ 9582858 w 12070798"/>
              <a:gd name="connsiteY105" fmla="*/ 3418423 h 6857999"/>
              <a:gd name="connsiteX106" fmla="*/ 10546471 w 12070798"/>
              <a:gd name="connsiteY106" fmla="*/ 5268654 h 6857999"/>
              <a:gd name="connsiteX107" fmla="*/ 10708396 w 12070798"/>
              <a:gd name="connsiteY107" fmla="*/ 5037177 h 6857999"/>
              <a:gd name="connsiteX108" fmla="*/ 9865433 w 12070798"/>
              <a:gd name="connsiteY108" fmla="*/ 3418423 h 6857999"/>
              <a:gd name="connsiteX109" fmla="*/ 10708396 w 12070798"/>
              <a:gd name="connsiteY109" fmla="*/ 1799668 h 6857999"/>
              <a:gd name="connsiteX110" fmla="*/ 10546471 w 12070798"/>
              <a:gd name="connsiteY110" fmla="*/ 1568191 h 6857999"/>
              <a:gd name="connsiteX111" fmla="*/ 0 w 12070798"/>
              <a:gd name="connsiteY111" fmla="*/ 0 h 6857999"/>
              <a:gd name="connsiteX112" fmla="*/ 12070798 w 12070798"/>
              <a:gd name="connsiteY112" fmla="*/ 0 h 6857999"/>
              <a:gd name="connsiteX113" fmla="*/ 12070798 w 12070798"/>
              <a:gd name="connsiteY113" fmla="*/ 6857999 h 6857999"/>
              <a:gd name="connsiteX114" fmla="*/ 0 w 12070798"/>
              <a:gd name="connsiteY11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070798" h="6857999">
                <a:moveTo>
                  <a:pt x="4491748" y="3650991"/>
                </a:moveTo>
                <a:cubicBezTo>
                  <a:pt x="4491748" y="3650991"/>
                  <a:pt x="4491748" y="3650991"/>
                  <a:pt x="4491748" y="3827204"/>
                </a:cubicBezTo>
                <a:cubicBezTo>
                  <a:pt x="4459996" y="3835141"/>
                  <a:pt x="4421896" y="3841491"/>
                  <a:pt x="4379034" y="3841491"/>
                </a:cubicBezTo>
                <a:cubicBezTo>
                  <a:pt x="4285372" y="3841491"/>
                  <a:pt x="4239334" y="3811329"/>
                  <a:pt x="4239334" y="3749416"/>
                </a:cubicBezTo>
                <a:cubicBezTo>
                  <a:pt x="4239334" y="3689091"/>
                  <a:pt x="4269495" y="3666866"/>
                  <a:pt x="4361572" y="3660516"/>
                </a:cubicBezTo>
                <a:cubicBezTo>
                  <a:pt x="4361572" y="3660516"/>
                  <a:pt x="4361572" y="3660516"/>
                  <a:pt x="4491748" y="3650991"/>
                </a:cubicBezTo>
                <a:close/>
                <a:moveTo>
                  <a:pt x="7923921" y="3370005"/>
                </a:moveTo>
                <a:cubicBezTo>
                  <a:pt x="8022345" y="3370005"/>
                  <a:pt x="8082671" y="3428543"/>
                  <a:pt x="8082671" y="3605743"/>
                </a:cubicBezTo>
                <a:cubicBezTo>
                  <a:pt x="8082671" y="3779778"/>
                  <a:pt x="8022345" y="3838317"/>
                  <a:pt x="7923921" y="3838317"/>
                </a:cubicBezTo>
                <a:cubicBezTo>
                  <a:pt x="7827083" y="3838317"/>
                  <a:pt x="7766759" y="3779778"/>
                  <a:pt x="7766759" y="3605743"/>
                </a:cubicBezTo>
                <a:cubicBezTo>
                  <a:pt x="7766759" y="3430125"/>
                  <a:pt x="7827083" y="3370005"/>
                  <a:pt x="7923921" y="3370005"/>
                </a:cubicBezTo>
                <a:close/>
                <a:moveTo>
                  <a:pt x="6777746" y="3230305"/>
                </a:moveTo>
                <a:cubicBezTo>
                  <a:pt x="6777746" y="3230305"/>
                  <a:pt x="6777746" y="3230305"/>
                  <a:pt x="7019046" y="3978499"/>
                </a:cubicBezTo>
                <a:cubicBezTo>
                  <a:pt x="7019046" y="3978499"/>
                  <a:pt x="7019046" y="3978499"/>
                  <a:pt x="7098421" y="3978499"/>
                </a:cubicBezTo>
                <a:cubicBezTo>
                  <a:pt x="7055558" y="4116408"/>
                  <a:pt x="7026983" y="4138600"/>
                  <a:pt x="6934908" y="4138600"/>
                </a:cubicBezTo>
                <a:cubicBezTo>
                  <a:pt x="6890458" y="4138600"/>
                  <a:pt x="6828546" y="4127504"/>
                  <a:pt x="6769808" y="4105312"/>
                </a:cubicBezTo>
                <a:cubicBezTo>
                  <a:pt x="6769808" y="4105312"/>
                  <a:pt x="6769808" y="4105312"/>
                  <a:pt x="6790446" y="4281265"/>
                </a:cubicBezTo>
                <a:cubicBezTo>
                  <a:pt x="6847596" y="4295531"/>
                  <a:pt x="6915858" y="4305042"/>
                  <a:pt x="6974596" y="4305042"/>
                </a:cubicBezTo>
                <a:cubicBezTo>
                  <a:pt x="7155571" y="4305042"/>
                  <a:pt x="7206371" y="4205177"/>
                  <a:pt x="7276221" y="3992766"/>
                </a:cubicBezTo>
                <a:cubicBezTo>
                  <a:pt x="7276221" y="3992766"/>
                  <a:pt x="7276221" y="3992766"/>
                  <a:pt x="7525458" y="3230305"/>
                </a:cubicBezTo>
                <a:lnTo>
                  <a:pt x="7333371" y="3230305"/>
                </a:lnTo>
                <a:cubicBezTo>
                  <a:pt x="7333371" y="3230305"/>
                  <a:pt x="7333371" y="3230305"/>
                  <a:pt x="7157158" y="3791451"/>
                </a:cubicBezTo>
                <a:cubicBezTo>
                  <a:pt x="7157158" y="3791451"/>
                  <a:pt x="7157158" y="3791451"/>
                  <a:pt x="6987296" y="3230305"/>
                </a:cubicBezTo>
                <a:cubicBezTo>
                  <a:pt x="6987296" y="3230305"/>
                  <a:pt x="6987296" y="3230305"/>
                  <a:pt x="6777746" y="3230305"/>
                </a:cubicBezTo>
                <a:close/>
                <a:moveTo>
                  <a:pt x="8620832" y="3219191"/>
                </a:moveTo>
                <a:cubicBezTo>
                  <a:pt x="8620832" y="3219191"/>
                  <a:pt x="8620832" y="3219191"/>
                  <a:pt x="8416045" y="3242956"/>
                </a:cubicBezTo>
                <a:cubicBezTo>
                  <a:pt x="8416045" y="3242956"/>
                  <a:pt x="8416045" y="3242956"/>
                  <a:pt x="8416045" y="3705565"/>
                </a:cubicBezTo>
                <a:cubicBezTo>
                  <a:pt x="8416045" y="3883004"/>
                  <a:pt x="8490658" y="4000241"/>
                  <a:pt x="8736720" y="4000241"/>
                </a:cubicBezTo>
                <a:cubicBezTo>
                  <a:pt x="8843082" y="4000241"/>
                  <a:pt x="8970082" y="3978061"/>
                  <a:pt x="9079620" y="3946376"/>
                </a:cubicBezTo>
                <a:cubicBezTo>
                  <a:pt x="9079620" y="3946376"/>
                  <a:pt x="9079620" y="3946376"/>
                  <a:pt x="9079620" y="3219191"/>
                </a:cubicBezTo>
                <a:lnTo>
                  <a:pt x="8873245" y="3242956"/>
                </a:lnTo>
                <a:cubicBezTo>
                  <a:pt x="8873245" y="3242956"/>
                  <a:pt x="8873245" y="3242956"/>
                  <a:pt x="8873245" y="3818049"/>
                </a:cubicBezTo>
                <a:cubicBezTo>
                  <a:pt x="8843082" y="3825970"/>
                  <a:pt x="8800220" y="3832307"/>
                  <a:pt x="8760532" y="3832307"/>
                </a:cubicBezTo>
                <a:cubicBezTo>
                  <a:pt x="8631945" y="3832307"/>
                  <a:pt x="8620832" y="3754678"/>
                  <a:pt x="8620832" y="3675464"/>
                </a:cubicBezTo>
                <a:cubicBezTo>
                  <a:pt x="8620832" y="3675464"/>
                  <a:pt x="8620832" y="3675464"/>
                  <a:pt x="8620832" y="3219191"/>
                </a:cubicBezTo>
                <a:close/>
                <a:moveTo>
                  <a:pt x="7923921" y="3209667"/>
                </a:moveTo>
                <a:cubicBezTo>
                  <a:pt x="7700083" y="3209667"/>
                  <a:pt x="7549271" y="3337996"/>
                  <a:pt x="7549271" y="3605746"/>
                </a:cubicBezTo>
                <a:cubicBezTo>
                  <a:pt x="7549271" y="3871911"/>
                  <a:pt x="7700083" y="4000241"/>
                  <a:pt x="7923921" y="4000241"/>
                </a:cubicBezTo>
                <a:cubicBezTo>
                  <a:pt x="8149345" y="4000241"/>
                  <a:pt x="8300159" y="3871911"/>
                  <a:pt x="8300159" y="3605746"/>
                </a:cubicBezTo>
                <a:cubicBezTo>
                  <a:pt x="8300159" y="3339580"/>
                  <a:pt x="8149345" y="3209667"/>
                  <a:pt x="7923921" y="3209667"/>
                </a:cubicBezTo>
                <a:close/>
                <a:moveTo>
                  <a:pt x="5195009" y="3209667"/>
                </a:moveTo>
                <a:cubicBezTo>
                  <a:pt x="5121984" y="3209667"/>
                  <a:pt x="5037847" y="3227093"/>
                  <a:pt x="4956884" y="3257194"/>
                </a:cubicBezTo>
                <a:cubicBezTo>
                  <a:pt x="4956884" y="3257194"/>
                  <a:pt x="4956884" y="3257194"/>
                  <a:pt x="4852109" y="3225508"/>
                </a:cubicBezTo>
                <a:cubicBezTo>
                  <a:pt x="4852109" y="3225508"/>
                  <a:pt x="4852109" y="3225508"/>
                  <a:pt x="4852109" y="3978016"/>
                </a:cubicBezTo>
                <a:cubicBezTo>
                  <a:pt x="4852109" y="3978016"/>
                  <a:pt x="4852109" y="3978016"/>
                  <a:pt x="5055309" y="3978016"/>
                </a:cubicBezTo>
                <a:cubicBezTo>
                  <a:pt x="5055309" y="3978016"/>
                  <a:pt x="5055309" y="3978016"/>
                  <a:pt x="5055309" y="3410863"/>
                </a:cubicBezTo>
                <a:cubicBezTo>
                  <a:pt x="5087059" y="3390268"/>
                  <a:pt x="5129922" y="3376010"/>
                  <a:pt x="5180721" y="3376010"/>
                </a:cubicBezTo>
                <a:cubicBezTo>
                  <a:pt x="5277559" y="3376010"/>
                  <a:pt x="5315659" y="3421953"/>
                  <a:pt x="5315659" y="3534433"/>
                </a:cubicBezTo>
                <a:cubicBezTo>
                  <a:pt x="5315659" y="3534433"/>
                  <a:pt x="5315659" y="3534433"/>
                  <a:pt x="5315659" y="3978016"/>
                </a:cubicBezTo>
                <a:cubicBezTo>
                  <a:pt x="5315659" y="3978016"/>
                  <a:pt x="5315659" y="3978016"/>
                  <a:pt x="5520446" y="3978016"/>
                </a:cubicBezTo>
                <a:cubicBezTo>
                  <a:pt x="5520446" y="3978016"/>
                  <a:pt x="5520446" y="3978016"/>
                  <a:pt x="5520446" y="3502748"/>
                </a:cubicBezTo>
                <a:cubicBezTo>
                  <a:pt x="5520446" y="3326899"/>
                  <a:pt x="5447422" y="3209667"/>
                  <a:pt x="5195009" y="3209667"/>
                </a:cubicBezTo>
                <a:close/>
                <a:moveTo>
                  <a:pt x="4361572" y="3209667"/>
                </a:moveTo>
                <a:cubicBezTo>
                  <a:pt x="4288545" y="3209667"/>
                  <a:pt x="4196471" y="3220757"/>
                  <a:pt x="4117097" y="3242938"/>
                </a:cubicBezTo>
                <a:cubicBezTo>
                  <a:pt x="4117097" y="3242938"/>
                  <a:pt x="4117097" y="3242938"/>
                  <a:pt x="4101221" y="3407707"/>
                </a:cubicBezTo>
                <a:cubicBezTo>
                  <a:pt x="4167897" y="3388694"/>
                  <a:pt x="4267908" y="3369683"/>
                  <a:pt x="4353634" y="3369683"/>
                </a:cubicBezTo>
                <a:cubicBezTo>
                  <a:pt x="4466346" y="3369683"/>
                  <a:pt x="4491746" y="3412459"/>
                  <a:pt x="4491746" y="3469494"/>
                </a:cubicBezTo>
                <a:cubicBezTo>
                  <a:pt x="4491746" y="3469494"/>
                  <a:pt x="4491746" y="3469494"/>
                  <a:pt x="4491746" y="3504349"/>
                </a:cubicBezTo>
                <a:cubicBezTo>
                  <a:pt x="4491746" y="3504349"/>
                  <a:pt x="4491746" y="3504349"/>
                  <a:pt x="4334584" y="3513855"/>
                </a:cubicBezTo>
                <a:cubicBezTo>
                  <a:pt x="4177421" y="3521777"/>
                  <a:pt x="4040897" y="3555048"/>
                  <a:pt x="4040897" y="3749919"/>
                </a:cubicBezTo>
                <a:cubicBezTo>
                  <a:pt x="4040897" y="3927362"/>
                  <a:pt x="4153609" y="4000241"/>
                  <a:pt x="4377446" y="4000241"/>
                </a:cubicBezTo>
                <a:cubicBezTo>
                  <a:pt x="4490158" y="4000241"/>
                  <a:pt x="4607634" y="3974892"/>
                  <a:pt x="4698120" y="3944790"/>
                </a:cubicBezTo>
                <a:cubicBezTo>
                  <a:pt x="4698120" y="3944790"/>
                  <a:pt x="4698120" y="3944790"/>
                  <a:pt x="4698120" y="3464741"/>
                </a:cubicBezTo>
                <a:cubicBezTo>
                  <a:pt x="4698120" y="3318985"/>
                  <a:pt x="4626684" y="3209667"/>
                  <a:pt x="4361572" y="3209667"/>
                </a:cubicBezTo>
                <a:close/>
                <a:moveTo>
                  <a:pt x="2350210" y="2946142"/>
                </a:moveTo>
                <a:lnTo>
                  <a:pt x="2350210" y="3138230"/>
                </a:lnTo>
                <a:lnTo>
                  <a:pt x="2647073" y="3138230"/>
                </a:lnTo>
                <a:lnTo>
                  <a:pt x="2647073" y="3978016"/>
                </a:lnTo>
                <a:lnTo>
                  <a:pt x="2862973" y="3978016"/>
                </a:lnTo>
                <a:lnTo>
                  <a:pt x="2862973" y="3138230"/>
                </a:lnTo>
                <a:lnTo>
                  <a:pt x="3150311" y="3138230"/>
                </a:lnTo>
                <a:lnTo>
                  <a:pt x="3170948" y="2946142"/>
                </a:lnTo>
                <a:close/>
                <a:moveTo>
                  <a:pt x="3467809" y="2839780"/>
                </a:moveTo>
                <a:cubicBezTo>
                  <a:pt x="3467809" y="2839780"/>
                  <a:pt x="3467809" y="2839780"/>
                  <a:pt x="3263022" y="2863559"/>
                </a:cubicBezTo>
                <a:cubicBezTo>
                  <a:pt x="3263022" y="2863559"/>
                  <a:pt x="3263022" y="2863559"/>
                  <a:pt x="3263022" y="3978017"/>
                </a:cubicBezTo>
                <a:cubicBezTo>
                  <a:pt x="3263022" y="3978017"/>
                  <a:pt x="3263022" y="3978017"/>
                  <a:pt x="3467809" y="3978017"/>
                </a:cubicBezTo>
                <a:cubicBezTo>
                  <a:pt x="3467809" y="3978017"/>
                  <a:pt x="3467809" y="3978017"/>
                  <a:pt x="3467809" y="3394631"/>
                </a:cubicBezTo>
                <a:cubicBezTo>
                  <a:pt x="3499559" y="3383534"/>
                  <a:pt x="3542422" y="3375608"/>
                  <a:pt x="3583697" y="3375608"/>
                </a:cubicBezTo>
                <a:cubicBezTo>
                  <a:pt x="3717046" y="3375608"/>
                  <a:pt x="3728159" y="3454872"/>
                  <a:pt x="3728159" y="3534136"/>
                </a:cubicBezTo>
                <a:cubicBezTo>
                  <a:pt x="3728159" y="3534136"/>
                  <a:pt x="3728159" y="3534136"/>
                  <a:pt x="3728159" y="3978017"/>
                </a:cubicBezTo>
                <a:cubicBezTo>
                  <a:pt x="3728159" y="3978017"/>
                  <a:pt x="3728159" y="3978017"/>
                  <a:pt x="3932946" y="3978017"/>
                </a:cubicBezTo>
                <a:cubicBezTo>
                  <a:pt x="3932946" y="3978017"/>
                  <a:pt x="3932946" y="3978017"/>
                  <a:pt x="3932946" y="3502430"/>
                </a:cubicBezTo>
                <a:cubicBezTo>
                  <a:pt x="3932946" y="3326463"/>
                  <a:pt x="3856747" y="3209152"/>
                  <a:pt x="3615446" y="3209152"/>
                </a:cubicBezTo>
                <a:cubicBezTo>
                  <a:pt x="3566234" y="3209152"/>
                  <a:pt x="3517021" y="3215493"/>
                  <a:pt x="3467809" y="3228175"/>
                </a:cubicBezTo>
                <a:cubicBezTo>
                  <a:pt x="3467809" y="3228175"/>
                  <a:pt x="3467809" y="3228175"/>
                  <a:pt x="3467809" y="2839780"/>
                </a:cubicBezTo>
                <a:close/>
                <a:moveTo>
                  <a:pt x="5880808" y="2839780"/>
                </a:moveTo>
                <a:lnTo>
                  <a:pt x="5677608" y="2863592"/>
                </a:lnTo>
                <a:lnTo>
                  <a:pt x="5677608" y="3978017"/>
                </a:lnTo>
                <a:lnTo>
                  <a:pt x="5880808" y="3978017"/>
                </a:lnTo>
                <a:lnTo>
                  <a:pt x="5880808" y="3774817"/>
                </a:lnTo>
                <a:lnTo>
                  <a:pt x="5985583" y="3665280"/>
                </a:lnTo>
                <a:lnTo>
                  <a:pt x="6198308" y="3978017"/>
                </a:lnTo>
                <a:lnTo>
                  <a:pt x="6455483" y="3978017"/>
                </a:lnTo>
                <a:lnTo>
                  <a:pt x="6131633" y="3509704"/>
                </a:lnTo>
                <a:lnTo>
                  <a:pt x="6396746" y="3230305"/>
                </a:lnTo>
                <a:lnTo>
                  <a:pt x="6161796" y="3230305"/>
                </a:lnTo>
                <a:lnTo>
                  <a:pt x="5880808" y="3527167"/>
                </a:lnTo>
                <a:close/>
                <a:moveTo>
                  <a:pt x="1608846" y="2463541"/>
                </a:moveTo>
                <a:cubicBezTo>
                  <a:pt x="1608846" y="2463541"/>
                  <a:pt x="1608846" y="2463541"/>
                  <a:pt x="1351670" y="2582505"/>
                </a:cubicBezTo>
                <a:cubicBezTo>
                  <a:pt x="1470733" y="2836294"/>
                  <a:pt x="1537408" y="3120220"/>
                  <a:pt x="1537408" y="3418423"/>
                </a:cubicBezTo>
                <a:cubicBezTo>
                  <a:pt x="1537408" y="3716625"/>
                  <a:pt x="1470733" y="4000551"/>
                  <a:pt x="1351670" y="4254341"/>
                </a:cubicBezTo>
                <a:cubicBezTo>
                  <a:pt x="1351670" y="4254341"/>
                  <a:pt x="1351670" y="4254341"/>
                  <a:pt x="1608846" y="4373304"/>
                </a:cubicBezTo>
                <a:cubicBezTo>
                  <a:pt x="1743783" y="4083033"/>
                  <a:pt x="1819983" y="3759452"/>
                  <a:pt x="1819983" y="3418423"/>
                </a:cubicBezTo>
                <a:cubicBezTo>
                  <a:pt x="1819983" y="3077394"/>
                  <a:pt x="1743783" y="2753813"/>
                  <a:pt x="1608846" y="2463541"/>
                </a:cubicBezTo>
                <a:close/>
                <a:moveTo>
                  <a:pt x="10546471" y="1568191"/>
                </a:moveTo>
                <a:cubicBezTo>
                  <a:pt x="9963858" y="1977240"/>
                  <a:pt x="9582858" y="2652646"/>
                  <a:pt x="9582858" y="3418423"/>
                </a:cubicBezTo>
                <a:cubicBezTo>
                  <a:pt x="9582858" y="4184200"/>
                  <a:pt x="9963858" y="4859606"/>
                  <a:pt x="10546471" y="5268654"/>
                </a:cubicBezTo>
                <a:cubicBezTo>
                  <a:pt x="10546471" y="5268654"/>
                  <a:pt x="10546471" y="5268654"/>
                  <a:pt x="10708396" y="5037177"/>
                </a:cubicBezTo>
                <a:cubicBezTo>
                  <a:pt x="10198808" y="4680449"/>
                  <a:pt x="9865433" y="4087487"/>
                  <a:pt x="9865433" y="3418423"/>
                </a:cubicBezTo>
                <a:cubicBezTo>
                  <a:pt x="9865433" y="2749359"/>
                  <a:pt x="10198808" y="2156397"/>
                  <a:pt x="10708396" y="1799668"/>
                </a:cubicBezTo>
                <a:cubicBezTo>
                  <a:pt x="10708396" y="1799668"/>
                  <a:pt x="10708396" y="1799668"/>
                  <a:pt x="10546471" y="1568191"/>
                </a:cubicBezTo>
                <a:close/>
                <a:moveTo>
                  <a:pt x="0" y="0"/>
                </a:moveTo>
                <a:lnTo>
                  <a:pt x="12070798" y="0"/>
                </a:lnTo>
                <a:lnTo>
                  <a:pt x="12070798"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Tree>
    <p:extLst>
      <p:ext uri="{BB962C8B-B14F-4D97-AF65-F5344CB8AC3E}">
        <p14:creationId xmlns:p14="http://schemas.microsoft.com/office/powerpoint/2010/main" val="20930320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Tree>
    <p:extLst>
      <p:ext uri="{BB962C8B-B14F-4D97-AF65-F5344CB8AC3E}">
        <p14:creationId xmlns:p14="http://schemas.microsoft.com/office/powerpoint/2010/main" val="1946665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5859729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93088132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picture">
    <p:bg>
      <p:bgPr>
        <a:solidFill>
          <a:schemeClr val="bg2"/>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316FA29-D8E9-40B9-8903-510052AA451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Callout: Line 27">
            <a:extLst>
              <a:ext uri="{FF2B5EF4-FFF2-40B4-BE49-F238E27FC236}">
                <a16:creationId xmlns:a16="http://schemas.microsoft.com/office/drawing/2014/main" id="{275BFAF7-D7E4-4A5E-B7E6-DBCB000CDAA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0219963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pic>
        <p:nvPicPr>
          <p:cNvPr id="27" name="Picture 26">
            <a:extLst>
              <a:ext uri="{FF2B5EF4-FFF2-40B4-BE49-F238E27FC236}">
                <a16:creationId xmlns:a16="http://schemas.microsoft.com/office/drawing/2014/main" id="{3EF76883-7CC7-4858-873E-B0D4F45898FA}"/>
              </a:ext>
            </a:extLst>
          </p:cNvPr>
          <p:cNvPicPr>
            <a:picLocks noChangeAspect="1"/>
          </p:cNvPicPr>
          <p:nvPr userDrawn="1"/>
        </p:nvPicPr>
        <p:blipFill rotWithShape="1">
          <a:blip r:embed="rId3"/>
          <a:srcRect l="60294" t="22177" r="9338" b="33379"/>
          <a:stretch/>
        </p:blipFill>
        <p:spPr>
          <a:xfrm>
            <a:off x="7351061" y="1520825"/>
            <a:ext cx="3702423" cy="3048080"/>
          </a:xfrm>
          <a:prstGeom prst="rect">
            <a:avLst/>
          </a:prstGeom>
        </p:spPr>
      </p:pic>
    </p:spTree>
    <p:extLst>
      <p:ext uri="{BB962C8B-B14F-4D97-AF65-F5344CB8AC3E}">
        <p14:creationId xmlns:p14="http://schemas.microsoft.com/office/powerpoint/2010/main" val="1986022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084857905"/>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43456445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36087430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0848262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2899867534"/>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47537600"/>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96052429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image_#_1">
    <p:bg>
      <p:bgPr>
        <a:solidFill>
          <a:srgbClr val="FFFFF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403EB0-2B01-425F-B338-3FC8DD98692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7" name="Callout: Line 26">
            <a:extLst>
              <a:ext uri="{FF2B5EF4-FFF2-40B4-BE49-F238E27FC236}">
                <a16:creationId xmlns:a16="http://schemas.microsoft.com/office/drawing/2014/main" id="{4B6823ED-4E2E-4596-8482-3F1734F30B81}"/>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26216917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accent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50"/>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5609325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2640025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49172079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23590262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26180976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5027308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58866025"/>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vider image_#_2">
    <p:bg>
      <p:bgPr>
        <a:solidFill>
          <a:schemeClr val="bg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1B51BF1-37EC-4913-ACE3-407CDB654E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0" name="Callout: Line 29">
            <a:extLst>
              <a:ext uri="{FF2B5EF4-FFF2-40B4-BE49-F238E27FC236}">
                <a16:creationId xmlns:a16="http://schemas.microsoft.com/office/drawing/2014/main" id="{A9F9C1D4-7985-48F1-B57B-E986AB7AA325}"/>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78515021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68511813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910172837"/>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9064513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75547212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51447766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365741961"/>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07292004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image">
    <p:bg>
      <p:bgPr>
        <a:solidFill>
          <a:schemeClr val="bg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10293B1C-8FB7-4971-9220-BFA9BF5F415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Callout: Line 28">
            <a:extLst>
              <a:ext uri="{FF2B5EF4-FFF2-40B4-BE49-F238E27FC236}">
                <a16:creationId xmlns:a16="http://schemas.microsoft.com/office/drawing/2014/main" id="{6EC5A2D3-F85D-4CB2-AB71-544DC1E0C36D}"/>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771611242"/>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Tree>
    <p:extLst>
      <p:ext uri="{BB962C8B-B14F-4D97-AF65-F5344CB8AC3E}">
        <p14:creationId xmlns:p14="http://schemas.microsoft.com/office/powerpoint/2010/main" val="33140769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460863499"/>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ank you imag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50EAED-B987-4FDE-9C93-D9846DC531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
        <p:nvSpPr>
          <p:cNvPr id="5" name="Callout: Line 4">
            <a:extLst>
              <a:ext uri="{FF2B5EF4-FFF2-40B4-BE49-F238E27FC236}">
                <a16:creationId xmlns:a16="http://schemas.microsoft.com/office/drawing/2014/main" id="{E2E50DD9-D4EA-4C5A-82C0-34BB3B7C19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7952301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632814470"/>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43" y="1341444"/>
            <a:ext cx="5552893" cy="1745111"/>
          </a:xfrm>
          <a:prstGeom prst="rect">
            <a:avLst/>
          </a:prstGeom>
        </p:spPr>
        <p:txBody>
          <a:bodyPr lIns="0" tIns="0" rIns="0" bIns="0" anchor="b">
            <a:noAutofit/>
          </a:bodyPr>
          <a:lstStyle>
            <a:lvl1pPr algn="l">
              <a:defRPr sz="3462" b="1">
                <a:solidFill>
                  <a:schemeClr val="accent1"/>
                </a:solidFill>
                <a:latin typeface="Arial" panose="020B0604020202020204" pitchFamily="34" charset="0"/>
                <a:cs typeface="Arial" panose="020B0604020202020204" pitchFamily="34" charset="0"/>
              </a:defRPr>
            </a:lvl1pPr>
          </a:lstStyle>
          <a:p>
            <a:r>
              <a:rPr lang="en-US"/>
              <a:t>Add divider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43" y="3104485"/>
            <a:ext cx="5552893" cy="732413"/>
          </a:xfrm>
          <a:prstGeom prst="rect">
            <a:avLst/>
          </a:prstGeom>
        </p:spPr>
        <p:txBody>
          <a:bodyPr lIns="0" tIns="0" rIns="0" bIns="0">
            <a:noAutofit/>
          </a:bodyPr>
          <a:lstStyle>
            <a:lvl1pPr marL="0" indent="0" algn="l">
              <a:lnSpc>
                <a:spcPct val="90000"/>
              </a:lnSpc>
              <a:buNone/>
              <a:defRPr sz="1888">
                <a:solidFill>
                  <a:schemeClr val="accent1"/>
                </a:solidFill>
                <a:latin typeface="Arial" panose="020B0604020202020204" pitchFamily="34" charset="0"/>
                <a:cs typeface="Arial" panose="020B0604020202020204" pitchFamily="34" charset="0"/>
              </a:defRPr>
            </a:lvl1pPr>
            <a:lvl2pPr marL="359618" indent="0" algn="ctr">
              <a:buNone/>
              <a:defRPr sz="1573"/>
            </a:lvl2pPr>
            <a:lvl3pPr marL="719236" indent="0" algn="ctr">
              <a:buNone/>
              <a:defRPr sz="1416"/>
            </a:lvl3pPr>
            <a:lvl4pPr marL="1078853" indent="0" algn="ctr">
              <a:buNone/>
              <a:defRPr sz="1258"/>
            </a:lvl4pPr>
            <a:lvl5pPr marL="1438471" indent="0" algn="ctr">
              <a:buNone/>
              <a:defRPr sz="1258"/>
            </a:lvl5pPr>
            <a:lvl6pPr marL="1798089" indent="0" algn="ctr">
              <a:buNone/>
              <a:defRPr sz="1258"/>
            </a:lvl6pPr>
            <a:lvl7pPr marL="2157707" indent="0" algn="ctr">
              <a:buNone/>
              <a:defRPr sz="1258"/>
            </a:lvl7pPr>
            <a:lvl8pPr marL="2517324" indent="0" algn="ctr">
              <a:buNone/>
              <a:defRPr sz="1258"/>
            </a:lvl8pPr>
            <a:lvl9pPr marL="2876943" indent="0" algn="ctr">
              <a:buNone/>
              <a:defRPr sz="1258"/>
            </a:lvl9pPr>
          </a:lstStyle>
          <a:p>
            <a:r>
              <a:rPr lang="en-US"/>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61"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9"/>
            <a:ext cx="2519363" cy="1595919"/>
          </a:xfrm>
        </p:spPr>
        <p:txBody>
          <a:bodyPr anchor="ctr">
            <a:noAutofit/>
          </a:bodyPr>
          <a:lstStyle>
            <a:lvl1pPr marL="0" indent="0" algn="ctr">
              <a:buNone/>
              <a:defRPr sz="9439" b="1">
                <a:solidFill>
                  <a:schemeClr val="accent1"/>
                </a:solidFill>
                <a:latin typeface="Arial" panose="020B0604020202020204" pitchFamily="34" charset="0"/>
                <a:cs typeface="Arial" panose="020B0604020202020204" pitchFamily="34" charset="0"/>
              </a:defRPr>
            </a:lvl1pPr>
          </a:lstStyle>
          <a:p>
            <a:pPr lvl="0"/>
            <a:r>
              <a:rPr lang="en-US"/>
              <a:t>00</a:t>
            </a:r>
            <a:endParaRPr lang="en-GB"/>
          </a:p>
        </p:txBody>
      </p:sp>
    </p:spTree>
    <p:extLst>
      <p:ext uri="{BB962C8B-B14F-4D97-AF65-F5344CB8AC3E}">
        <p14:creationId xmlns:p14="http://schemas.microsoft.com/office/powerpoint/2010/main" val="22879723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1"/>
            <a:ext cx="11337925" cy="4637286"/>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72271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4"/>
            <a:ext cx="11337925" cy="4271117"/>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9">
            <a:extLst>
              <a:ext uri="{FF2B5EF4-FFF2-40B4-BE49-F238E27FC236}">
                <a16:creationId xmlns:a16="http://schemas.microsoft.com/office/drawing/2014/main" id="{BED2F0F8-4186-44B6-873A-D194D89C9C0C}"/>
              </a:ext>
            </a:extLst>
          </p:cNvPr>
          <p:cNvSpPr>
            <a:spLocks noGrp="1"/>
          </p:cNvSpPr>
          <p:nvPr>
            <p:ph type="body" sz="quarter" idx="19" hasCustomPrompt="1"/>
          </p:nvPr>
        </p:nvSpPr>
        <p:spPr>
          <a:xfrm>
            <a:off x="358781" y="5873276"/>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Tree>
    <p:extLst>
      <p:ext uri="{BB962C8B-B14F-4D97-AF65-F5344CB8AC3E}">
        <p14:creationId xmlns:p14="http://schemas.microsoft.com/office/powerpoint/2010/main" val="15773968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7"/>
            <a:ext cx="11337925"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4C64ACF3-C32C-4B1D-A5AF-6397F24027FC}"/>
              </a:ext>
            </a:extLst>
          </p:cNvPr>
          <p:cNvSpPr>
            <a:spLocks noGrp="1"/>
          </p:cNvSpPr>
          <p:nvPr>
            <p:ph type="body" sz="quarter" idx="10" hasCustomPrompt="1"/>
          </p:nvPr>
        </p:nvSpPr>
        <p:spPr>
          <a:xfrm>
            <a:off x="358776" y="573526"/>
            <a:ext cx="11342166" cy="274372"/>
          </a:xfrm>
        </p:spPr>
        <p:txBody>
          <a:bodyPr/>
          <a:lstStyle>
            <a:lvl1pPr marL="0" indent="0">
              <a:buNone/>
              <a:defRPr sz="1477" b="1">
                <a:solidFill>
                  <a:schemeClr val="accent1"/>
                </a:solidFill>
              </a:defRPr>
            </a:lvl1pPr>
          </a:lstStyle>
          <a:p>
            <a:pPr lvl="0"/>
            <a:r>
              <a:rPr lang="en-US"/>
              <a:t>Add subtitle</a:t>
            </a:r>
            <a:endParaRPr lang="en-GB"/>
          </a:p>
        </p:txBody>
      </p:sp>
      <p:sp>
        <p:nvSpPr>
          <p:cNvPr id="3" name="Title 2"/>
          <p:cNvSpPr>
            <a:spLocks noGrp="1"/>
          </p:cNvSpPr>
          <p:nvPr>
            <p:ph type="title"/>
          </p:nvPr>
        </p:nvSpPr>
        <p:spPr>
          <a:xfrm>
            <a:off x="358775" y="151224"/>
            <a:ext cx="11337925" cy="391875"/>
          </a:xfrm>
        </p:spPr>
        <p:txBody>
          <a:bodyPr/>
          <a:lstStyle>
            <a:lvl1pPr>
              <a:defRPr sz="1662"/>
            </a:lvl1pPr>
          </a:lstStyle>
          <a:p>
            <a:r>
              <a:rPr lang="en-US"/>
              <a:t>Click to edit Master title style</a:t>
            </a:r>
          </a:p>
        </p:txBody>
      </p:sp>
    </p:spTree>
    <p:extLst>
      <p:ext uri="{BB962C8B-B14F-4D97-AF65-F5344CB8AC3E}">
        <p14:creationId xmlns:p14="http://schemas.microsoft.com/office/powerpoint/2010/main" val="1842224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0"/>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6"/>
            <a:ext cx="11337925" cy="3981684"/>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AA1095E4-71FF-4040-9780-3C562EF7E771}"/>
              </a:ext>
            </a:extLst>
          </p:cNvPr>
          <p:cNvSpPr>
            <a:spLocks noGrp="1"/>
          </p:cNvSpPr>
          <p:nvPr>
            <p:ph type="body" sz="quarter" idx="19" hasCustomPrompt="1"/>
          </p:nvPr>
        </p:nvSpPr>
        <p:spPr>
          <a:xfrm>
            <a:off x="358779" y="5873093"/>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
        <p:nvSpPr>
          <p:cNvPr id="8" name="Text Placeholder 4">
            <a:extLst>
              <a:ext uri="{FF2B5EF4-FFF2-40B4-BE49-F238E27FC236}">
                <a16:creationId xmlns:a16="http://schemas.microsoft.com/office/drawing/2014/main" id="{A65FC687-0C09-43B2-AAA2-63C558E5505A}"/>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33983955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4"/>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7"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a:extLst>
              <a:ext uri="{FF2B5EF4-FFF2-40B4-BE49-F238E27FC236}">
                <a16:creationId xmlns:a16="http://schemas.microsoft.com/office/drawing/2014/main" id="{FB985924-B690-4F6B-A059-A56784949324}"/>
              </a:ext>
            </a:extLst>
          </p:cNvPr>
          <p:cNvSpPr>
            <a:spLocks noGrp="1"/>
          </p:cNvSpPr>
          <p:nvPr>
            <p:ph sz="quarter" idx="12" hasCustomPrompt="1"/>
          </p:nvPr>
        </p:nvSpPr>
        <p:spPr>
          <a:xfrm>
            <a:off x="6358063"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3B40A6A2-A8EF-4A9C-B763-9930EDE7D58F}"/>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379982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9" y="1520906"/>
            <a:ext cx="7166539" cy="1637364"/>
          </a:xfrm>
          <a:prstGeom prst="rect">
            <a:avLst/>
          </a:prstGeom>
        </p:spPr>
        <p:txBody>
          <a:bodyPr lIns="0" tIns="36000" rIns="36000" bIns="36000" anchor="b">
            <a:noAutofit/>
          </a:bodyPr>
          <a:lstStyle>
            <a:lvl1pPr algn="l">
              <a:defRPr sz="2811" b="1">
                <a:solidFill>
                  <a:schemeClr val="accent1"/>
                </a:solidFill>
                <a:latin typeface="Arial" panose="020B0604020202020204" pitchFamily="34" charset="0"/>
                <a:cs typeface="Arial" panose="020B0604020202020204" pitchFamily="34" charset="0"/>
              </a:defRPr>
            </a:lvl1pPr>
          </a:lstStyle>
          <a:p>
            <a:r>
              <a:rPr lang="en-US"/>
              <a:t>Add presentation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9" y="3176203"/>
            <a:ext cx="7166539" cy="732413"/>
          </a:xfrm>
          <a:prstGeom prst="rect">
            <a:avLst/>
          </a:prstGeom>
        </p:spPr>
        <p:txBody>
          <a:bodyPr lIns="0" tIns="36000" rIns="36000" bIns="36000">
            <a:noAutofit/>
          </a:bodyPr>
          <a:lstStyle>
            <a:lvl1pPr marL="0" indent="0" algn="l">
              <a:lnSpc>
                <a:spcPct val="90000"/>
              </a:lnSpc>
              <a:buNone/>
              <a:defRPr sz="1534">
                <a:solidFill>
                  <a:schemeClr val="accent1"/>
                </a:solidFill>
                <a:latin typeface="Arial" panose="020B0604020202020204" pitchFamily="34" charset="0"/>
                <a:cs typeface="Arial" panose="020B0604020202020204" pitchFamily="34" charset="0"/>
              </a:defRPr>
            </a:lvl1pPr>
            <a:lvl2pPr marL="292182" indent="0" algn="ctr">
              <a:buNone/>
              <a:defRPr sz="1278"/>
            </a:lvl2pPr>
            <a:lvl3pPr marL="584365" indent="0" algn="ctr">
              <a:buNone/>
              <a:defRPr sz="1150"/>
            </a:lvl3pPr>
            <a:lvl4pPr marL="876547" indent="0" algn="ctr">
              <a:buNone/>
              <a:defRPr sz="1022"/>
            </a:lvl4pPr>
            <a:lvl5pPr marL="1168729" indent="0" algn="ctr">
              <a:buNone/>
              <a:defRPr sz="1022"/>
            </a:lvl5pPr>
            <a:lvl6pPr marL="1460910" indent="0" algn="ctr">
              <a:buNone/>
              <a:defRPr sz="1022"/>
            </a:lvl6pPr>
            <a:lvl7pPr marL="1753093" indent="0" algn="ctr">
              <a:buNone/>
              <a:defRPr sz="1022"/>
            </a:lvl7pPr>
            <a:lvl8pPr marL="2045275" indent="0" algn="ctr">
              <a:buNone/>
              <a:defRPr sz="1022"/>
            </a:lvl8pPr>
            <a:lvl9pPr marL="2337457" indent="0" algn="ctr">
              <a:buNone/>
              <a:defRPr sz="1022"/>
            </a:lvl9pPr>
          </a:lstStyle>
          <a:p>
            <a:r>
              <a:rPr lang="en-US"/>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9" y="4273068"/>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date</a:t>
            </a:r>
            <a:endParaRPr lang="en-GB"/>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9" y="4514289"/>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name and surname of presenter</a:t>
            </a:r>
            <a:endParaRPr lang="en-GB"/>
          </a:p>
        </p:txBody>
      </p:sp>
    </p:spTree>
    <p:extLst>
      <p:ext uri="{BB962C8B-B14F-4D97-AF65-F5344CB8AC3E}">
        <p14:creationId xmlns:p14="http://schemas.microsoft.com/office/powerpoint/2010/main" val="16967674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D40031"/>
                </a:solidFill>
                <a:latin typeface="Expert Sans Regular"/>
                <a:cs typeface="Expert Sans Regula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280419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95180930"/>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575"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201086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537366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453157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73145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134226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775674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280898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userDrawn="1"/>
        </p:nvSpPr>
        <p:spPr bwMode="gray">
          <a:xfrm>
            <a:off x="12783532"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5271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userDrawn="1"/>
        </p:nvPicPr>
        <p:blipFill>
          <a:blip r:embed="rId2"/>
          <a:stretch>
            <a:fillRect/>
          </a:stretch>
        </p:blipFill>
        <p:spPr>
          <a:xfrm>
            <a:off x="1772156"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112185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103942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656691306"/>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elcome on yellow">
    <p:bg>
      <p:bgPr>
        <a:solidFill>
          <a:schemeClr val="accent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0AAA1BD8-C6B1-4CB0-9DFB-2843B9197074}"/>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662650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elcome on orange">
    <p:bg>
      <p:bgPr>
        <a:solidFill>
          <a:schemeClr val="accent3"/>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71099A8-DE03-4E8D-BF7E-90D156E1D72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101346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elcome on pink">
    <p:bg>
      <p:bgPr>
        <a:solidFill>
          <a:schemeClr val="accent4"/>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48403EA-A1C8-4D83-80E3-72146752402D}"/>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51303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elcome on plum">
    <p:bg>
      <p:bgPr>
        <a:solidFill>
          <a:schemeClr val="accent5"/>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0D7B175-CB64-4476-B200-4DEC1EECA3F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420487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elcome on dark plum">
    <p:bg>
      <p:bgPr>
        <a:solidFill>
          <a:schemeClr val="accent6"/>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50F72321-32C2-4C42-B7F5-D6A9E88FC2D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889179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FABB003-C294-4B0B-9C93-02517CC2586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8" name="Callout: Line 7">
            <a:extLst>
              <a:ext uri="{FF2B5EF4-FFF2-40B4-BE49-F238E27FC236}">
                <a16:creationId xmlns:a16="http://schemas.microsoft.com/office/drawing/2014/main" id="{C54DC228-D03A-4019-B8DF-3DAD0C437B3B}"/>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5933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605575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7"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7"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3</a:t>
            </a:r>
            <a:endParaRPr lang="en-GB" dirty="0"/>
          </a:p>
        </p:txBody>
      </p:sp>
    </p:spTree>
    <p:extLst>
      <p:ext uri="{BB962C8B-B14F-4D97-AF65-F5344CB8AC3E}">
        <p14:creationId xmlns:p14="http://schemas.microsoft.com/office/powerpoint/2010/main" val="9106252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4999571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11179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00FC2B-E848-43EF-A094-49670979BC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073965" cy="6858000"/>
          </a:xfrm>
          <a:prstGeom prst="rect">
            <a:avLst/>
          </a:prstGeom>
        </p:spPr>
      </p:pic>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969305141"/>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3934256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1360760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3675160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6021702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icture">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12" name="Callout: Line 11">
            <a:extLst>
              <a:ext uri="{FF2B5EF4-FFF2-40B4-BE49-F238E27FC236}">
                <a16:creationId xmlns:a16="http://schemas.microsoft.com/office/drawing/2014/main" id="{B2B3AB3A-956C-400C-8EC1-40131D6442E6}"/>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07457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8105964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6747565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9287956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6351434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820734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75748752"/>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5451773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362503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image_#_1">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9" name="Callout: Line 8">
            <a:extLst>
              <a:ext uri="{FF2B5EF4-FFF2-40B4-BE49-F238E27FC236}">
                <a16:creationId xmlns:a16="http://schemas.microsoft.com/office/drawing/2014/main" id="{CF204DF2-7FD0-478F-980D-A07EB0101292}"/>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82365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accent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2" y="1559650"/>
            <a:ext cx="2519361" cy="1595919"/>
          </a:xfrm>
        </p:spPr>
        <p:txBody>
          <a:bodyPr anchor="ctr">
            <a:noAutofit/>
          </a:bodyPr>
          <a:lstStyle>
            <a:lvl1pPr marL="0" indent="0" algn="ctr">
              <a:buNone/>
              <a:defRPr sz="9547"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736713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5304022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4394319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621846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4561229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3195498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image_#_2">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0">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9" name="Callout: Line 8">
            <a:extLst>
              <a:ext uri="{FF2B5EF4-FFF2-40B4-BE49-F238E27FC236}">
                <a16:creationId xmlns:a16="http://schemas.microsoft.com/office/drawing/2014/main" id="{29D97716-E4A9-4B0C-B27E-A052426CCE71}"/>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057304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50" Type="http://schemas.openxmlformats.org/officeDocument/2006/relationships/slideLayout" Target="../slideLayouts/slideLayout109.xml"/><Relationship Id="rId55" Type="http://schemas.openxmlformats.org/officeDocument/2006/relationships/tags" Target="../tags/tag4.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3" Type="http://schemas.openxmlformats.org/officeDocument/2006/relationships/slideLayout" Target="../slideLayouts/slideLayout112.xml"/><Relationship Id="rId5" Type="http://schemas.openxmlformats.org/officeDocument/2006/relationships/slideLayout" Target="../slideLayouts/slideLayout64.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56" Type="http://schemas.openxmlformats.org/officeDocument/2006/relationships/oleObject" Target="../embeddings/oleObject2.bin"/><Relationship Id="rId8" Type="http://schemas.openxmlformats.org/officeDocument/2006/relationships/slideLayout" Target="../slideLayouts/slideLayout67.xml"/><Relationship Id="rId51" Type="http://schemas.openxmlformats.org/officeDocument/2006/relationships/slideLayout" Target="../slideLayouts/slideLayout110.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54" Type="http://schemas.openxmlformats.org/officeDocument/2006/relationships/theme" Target="../theme/theme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image" Target="../media/image15.emf"/><Relationship Id="rId10" Type="http://schemas.openxmlformats.org/officeDocument/2006/relationships/slideLayout" Target="../slideLayouts/slideLayout69.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63" Type="http://schemas.openxmlformats.org/officeDocument/2006/relationships/image" Target="../media/image1.emf"/><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5" Type="http://schemas.openxmlformats.org/officeDocument/2006/relationships/slideLayout" Target="../slideLayouts/slideLayout117.xml"/><Relationship Id="rId61" Type="http://schemas.openxmlformats.org/officeDocument/2006/relationships/tags" Target="../tags/tag8.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theme" Target="../theme/theme3.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62" Type="http://schemas.openxmlformats.org/officeDocument/2006/relationships/oleObject" Target="../embeddings/oleObject5.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tags" Target="../tags/tag7.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50" Type="http://schemas.openxmlformats.org/officeDocument/2006/relationships/slideLayout" Target="../slideLayouts/slideLayout220.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3" Type="http://schemas.openxmlformats.org/officeDocument/2006/relationships/theme" Target="../theme/theme4.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52" Type="http://schemas.openxmlformats.org/officeDocument/2006/relationships/slideLayout" Target="../slideLayouts/slideLayout222.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slideLayout" Target="../slideLayouts/slideLayout218.xml"/><Relationship Id="rId8" Type="http://schemas.openxmlformats.org/officeDocument/2006/relationships/slideLayout" Target="../slideLayouts/slideLayout178.xml"/><Relationship Id="rId51" Type="http://schemas.openxmlformats.org/officeDocument/2006/relationships/slideLayout" Target="../slideLayouts/slideLayout221.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33525580-F95A-4B7C-ACA7-8CFAB1A7A523}"/>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259AFF2A-C511-4FF5-93DF-B6C8A283C926}"/>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0B205D5C-6DBF-4E2E-90BB-F201C6D60E4A}"/>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79D58B0E-3B38-469F-82A8-E22EE4EFBA77}"/>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87C8DFD0-51E4-42AD-9DF9-682FD86BC957}"/>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78585C1E-7A0E-4F53-ABB0-CDF4769CCB4C}"/>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948EEE69-3616-419F-BB35-1F05FACC0AB8}"/>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18EEC0A3-7F93-4031-A8F1-ADD0383D5305}"/>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A5069A6B-9BB2-476A-BCE6-C8433FBB4A28}"/>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7678D2E2-AF18-42E0-898F-16480F3ACCB7}"/>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A26D7935-17B1-43A0-9B38-8C04FED80733}"/>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72716AF1-2642-4236-90C5-547B5CB32F5A}"/>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FF2413FC-ABF5-4257-A414-E4589D1DF57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9A9C6E8-6C2C-4C4B-87B7-69F7C88A7A94}"/>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1A8AA545-BB1D-4415-820F-4134EF1551C5}"/>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58D2EDC5-E7F6-4DAE-A3E3-64F2460D0C74}"/>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3AAA8A36-8E6C-4A8D-A807-EEFA4B5026D1}"/>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7" name="Freeform: Shape 26">
              <a:extLst>
                <a:ext uri="{FF2B5EF4-FFF2-40B4-BE49-F238E27FC236}">
                  <a16:creationId xmlns:a16="http://schemas.microsoft.com/office/drawing/2014/main" id="{E9B5A63D-6C91-44F2-8717-1D9F7CA8D60C}"/>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8" name="Freeform: Shape 27">
              <a:extLst>
                <a:ext uri="{FF2B5EF4-FFF2-40B4-BE49-F238E27FC236}">
                  <a16:creationId xmlns:a16="http://schemas.microsoft.com/office/drawing/2014/main" id="{3441DCEF-3F17-4DC3-B27D-6F6FFA14C594}"/>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30" name="Object 29" hidden="1">
            <a:extLst>
              <a:ext uri="{FF2B5EF4-FFF2-40B4-BE49-F238E27FC236}">
                <a16:creationId xmlns:a16="http://schemas.microsoft.com/office/drawing/2014/main" id="{E1CA89CE-9071-4B7B-9E02-16C170000341}"/>
              </a:ext>
            </a:extLst>
          </p:cNvPr>
          <p:cNvGraphicFramePr>
            <a:graphicFrameLocks noChangeAspect="1"/>
          </p:cNvGraphicFramePr>
          <p:nvPr userDrawn="1">
            <p:custDataLst>
              <p:tags r:id="rId61"/>
            </p:custDataLst>
            <p:extLst>
              <p:ext uri="{D42A27DB-BD31-4B8C-83A1-F6EECF244321}">
                <p14:modId xmlns:p14="http://schemas.microsoft.com/office/powerpoint/2010/main" val="4216948358"/>
              </p:ext>
            </p:ext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Slide" r:id="rId63" imgW="524" imgH="526" progId="TCLayout.ActiveDocument.1">
                  <p:embed/>
                </p:oleObj>
              </mc:Choice>
              <mc:Fallback>
                <p:oleObj name="think-cell Slide" r:id="rId63" imgW="524" imgH="526" progId="TCLayout.ActiveDocument.1">
                  <p:embed/>
                  <p:pic>
                    <p:nvPicPr>
                      <p:cNvPr id="30" name="Object 29" hidden="1">
                        <a:extLst>
                          <a:ext uri="{FF2B5EF4-FFF2-40B4-BE49-F238E27FC236}">
                            <a16:creationId xmlns:a16="http://schemas.microsoft.com/office/drawing/2014/main" id="{E1CA89CE-9071-4B7B-9E02-16C170000341}"/>
                          </a:ext>
                        </a:extLst>
                      </p:cNvPr>
                      <p:cNvPicPr/>
                      <p:nvPr/>
                    </p:nvPicPr>
                    <p:blipFill>
                      <a:blip r:embed="rId64"/>
                      <a:stretch>
                        <a:fillRect/>
                      </a:stretch>
                    </p:blipFill>
                    <p:spPr>
                      <a:xfrm>
                        <a:off x="1955" y="1588"/>
                        <a:ext cx="1955"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C3A2DA49-1497-4C62-83F9-AA1D0BB9FB62}"/>
              </a:ext>
            </a:extLst>
          </p:cNvPr>
          <p:cNvSpPr/>
          <p:nvPr userDrawn="1">
            <p:custDataLst>
              <p:tags r:id="rId62"/>
            </p:custDataLst>
          </p:nvPr>
        </p:nvSpPr>
        <p:spPr bwMode="gray">
          <a:xfrm>
            <a:off x="0" y="0"/>
            <a:ext cx="195385"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77"/>
              </a:spcBef>
              <a:buFont typeface="Courier New" pitchFamily="49" charset="0"/>
              <a:buNone/>
            </a:pPr>
            <a:endParaRPr lang="en-US" sz="2811"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3" name="Title Placeholder 3">
            <a:extLst>
              <a:ext uri="{FF2B5EF4-FFF2-40B4-BE49-F238E27FC236}">
                <a16:creationId xmlns:a16="http://schemas.microsoft.com/office/drawing/2014/main" id="{0CA8DDFE-28D4-467B-A506-FD0863426B03}"/>
              </a:ext>
            </a:extLst>
          </p:cNvPr>
          <p:cNvSpPr>
            <a:spLocks noGrp="1"/>
          </p:cNvSpPr>
          <p:nvPr>
            <p:ph type="title"/>
          </p:nvPr>
        </p:nvSpPr>
        <p:spPr>
          <a:xfrm>
            <a:off x="358775" y="445814"/>
            <a:ext cx="11337925" cy="589182"/>
          </a:xfrm>
          <a:prstGeom prst="rect">
            <a:avLst/>
          </a:prstGeom>
        </p:spPr>
        <p:txBody>
          <a:bodyPr vert="horz" lIns="0" tIns="41994" rIns="83988" bIns="41994" rtlCol="0" anchor="b">
            <a:noAutofit/>
          </a:bodyPr>
          <a:lstStyle/>
          <a:p>
            <a:r>
              <a:rPr lang="en-US"/>
              <a:t>Add title</a:t>
            </a:r>
            <a:endParaRPr lang="en-GB"/>
          </a:p>
        </p:txBody>
      </p:sp>
      <p:sp>
        <p:nvSpPr>
          <p:cNvPr id="34" name="Text Placeholder 4">
            <a:extLst>
              <a:ext uri="{FF2B5EF4-FFF2-40B4-BE49-F238E27FC236}">
                <a16:creationId xmlns:a16="http://schemas.microsoft.com/office/drawing/2014/main" id="{9E83922F-2CEC-4F16-A891-B29D856DB8DB}"/>
              </a:ext>
            </a:extLst>
          </p:cNvPr>
          <p:cNvSpPr>
            <a:spLocks noGrp="1"/>
          </p:cNvSpPr>
          <p:nvPr>
            <p:ph type="body" idx="1"/>
          </p:nvPr>
        </p:nvSpPr>
        <p:spPr>
          <a:xfrm>
            <a:off x="358775" y="1339346"/>
            <a:ext cx="11337925" cy="4637281"/>
          </a:xfrm>
          <a:prstGeom prst="rect">
            <a:avLst/>
          </a:prstGeom>
        </p:spPr>
        <p:txBody>
          <a:bodyPr vert="horz" lIns="0" tIns="41994" rIns="83988" bIns="41994"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cxnSp>
        <p:nvCxnSpPr>
          <p:cNvPr id="36" name="Straight Connector 35">
            <a:extLst>
              <a:ext uri="{FF2B5EF4-FFF2-40B4-BE49-F238E27FC236}">
                <a16:creationId xmlns:a16="http://schemas.microsoft.com/office/drawing/2014/main" id="{BF1308C9-845C-4EAE-AF67-608436A218AE}"/>
              </a:ext>
            </a:extLst>
          </p:cNvPr>
          <p:cNvCxnSpPr/>
          <p:nvPr userDrawn="1"/>
        </p:nvCxnSpPr>
        <p:spPr>
          <a:xfrm>
            <a:off x="358775" y="6443621"/>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9A1EC2-AD0C-499E-8DFD-ABD6F4A4D4DB}"/>
              </a:ext>
            </a:extLst>
          </p:cNvPr>
          <p:cNvGrpSpPr/>
          <p:nvPr userDrawn="1"/>
        </p:nvGrpSpPr>
        <p:grpSpPr>
          <a:xfrm>
            <a:off x="12048322" y="0"/>
            <a:ext cx="143679" cy="6858000"/>
            <a:chOff x="12073965" y="-3096"/>
            <a:chExt cx="127000" cy="6096000"/>
          </a:xfrm>
        </p:grpSpPr>
        <p:sp>
          <p:nvSpPr>
            <p:cNvPr id="38" name="Freeform: Shape 37">
              <a:extLst>
                <a:ext uri="{FF2B5EF4-FFF2-40B4-BE49-F238E27FC236}">
                  <a16:creationId xmlns:a16="http://schemas.microsoft.com/office/drawing/2014/main" id="{2F99D7DE-C09C-47AB-951E-6C119971146E}"/>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39" name="Freeform: Shape 38">
              <a:extLst>
                <a:ext uri="{FF2B5EF4-FFF2-40B4-BE49-F238E27FC236}">
                  <a16:creationId xmlns:a16="http://schemas.microsoft.com/office/drawing/2014/main" id="{7A4D2D38-25E2-4055-AA35-0C61300A54D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0" name="Freeform: Shape 39">
              <a:extLst>
                <a:ext uri="{FF2B5EF4-FFF2-40B4-BE49-F238E27FC236}">
                  <a16:creationId xmlns:a16="http://schemas.microsoft.com/office/drawing/2014/main" id="{3E86B2DD-BA39-45E8-BCC3-9600C7F55EB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1" name="Freeform: Shape 40">
              <a:extLst>
                <a:ext uri="{FF2B5EF4-FFF2-40B4-BE49-F238E27FC236}">
                  <a16:creationId xmlns:a16="http://schemas.microsoft.com/office/drawing/2014/main" id="{7C932CC7-BFF1-46EB-BC84-7E7D62140A1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2" name="Freeform: Shape 41">
              <a:extLst>
                <a:ext uri="{FF2B5EF4-FFF2-40B4-BE49-F238E27FC236}">
                  <a16:creationId xmlns:a16="http://schemas.microsoft.com/office/drawing/2014/main" id="{209CC176-983B-416D-8EFC-F6E7833C9A91}"/>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3" name="Freeform: Shape 42">
              <a:extLst>
                <a:ext uri="{FF2B5EF4-FFF2-40B4-BE49-F238E27FC236}">
                  <a16:creationId xmlns:a16="http://schemas.microsoft.com/office/drawing/2014/main" id="{E0FB10CE-0DE5-470B-AA42-82E3F23AC555}"/>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44" name="Freeform: Shape 43">
              <a:extLst>
                <a:ext uri="{FF2B5EF4-FFF2-40B4-BE49-F238E27FC236}">
                  <a16:creationId xmlns:a16="http://schemas.microsoft.com/office/drawing/2014/main" id="{145FEFA8-7E19-4553-9E43-0286D89CFC21}"/>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5" name="Freeform: Shape 44">
              <a:extLst>
                <a:ext uri="{FF2B5EF4-FFF2-40B4-BE49-F238E27FC236}">
                  <a16:creationId xmlns:a16="http://schemas.microsoft.com/office/drawing/2014/main" id="{B4A7E97B-611C-45B2-8D1C-B016A988D57C}"/>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6" name="Freeform: Shape 45">
              <a:extLst>
                <a:ext uri="{FF2B5EF4-FFF2-40B4-BE49-F238E27FC236}">
                  <a16:creationId xmlns:a16="http://schemas.microsoft.com/office/drawing/2014/main" id="{45FFBF32-9440-440E-8030-566C069549C2}"/>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34">
                <a:latin typeface="Arial" panose="020B0604020202020204" pitchFamily="34" charset="0"/>
              </a:endParaRPr>
            </a:p>
          </p:txBody>
        </p:sp>
        <p:sp>
          <p:nvSpPr>
            <p:cNvPr id="47" name="Freeform: Shape 46">
              <a:extLst>
                <a:ext uri="{FF2B5EF4-FFF2-40B4-BE49-F238E27FC236}">
                  <a16:creationId xmlns:a16="http://schemas.microsoft.com/office/drawing/2014/main" id="{2714DB7E-A4E2-4775-A9ED-2544D04ABA7B}"/>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34">
                <a:latin typeface="Arial" panose="020B0604020202020204" pitchFamily="34" charset="0"/>
              </a:endParaRPr>
            </a:p>
          </p:txBody>
        </p:sp>
        <p:sp>
          <p:nvSpPr>
            <p:cNvPr id="48" name="Freeform: Shape 47">
              <a:extLst>
                <a:ext uri="{FF2B5EF4-FFF2-40B4-BE49-F238E27FC236}">
                  <a16:creationId xmlns:a16="http://schemas.microsoft.com/office/drawing/2014/main" id="{992096DA-EEC8-49C0-8D1D-CCC0C41CD78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34">
                <a:latin typeface="Arial" panose="020B0604020202020204" pitchFamily="34" charset="0"/>
              </a:endParaRPr>
            </a:p>
          </p:txBody>
        </p:sp>
        <p:sp>
          <p:nvSpPr>
            <p:cNvPr id="49" name="Freeform: Shape 48">
              <a:extLst>
                <a:ext uri="{FF2B5EF4-FFF2-40B4-BE49-F238E27FC236}">
                  <a16:creationId xmlns:a16="http://schemas.microsoft.com/office/drawing/2014/main" id="{B19FA396-6233-4C3E-A29C-A1D9E6E29C7D}"/>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34">
                <a:latin typeface="Arial" panose="020B0604020202020204" pitchFamily="34" charset="0"/>
              </a:endParaRPr>
            </a:p>
          </p:txBody>
        </p:sp>
        <p:sp>
          <p:nvSpPr>
            <p:cNvPr id="50" name="Freeform: Shape 49">
              <a:extLst>
                <a:ext uri="{FF2B5EF4-FFF2-40B4-BE49-F238E27FC236}">
                  <a16:creationId xmlns:a16="http://schemas.microsoft.com/office/drawing/2014/main" id="{3A0CACDC-A660-43A2-9B04-B8935D852AE5}"/>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34">
                <a:latin typeface="Arial" panose="020B0604020202020204" pitchFamily="34" charset="0"/>
              </a:endParaRPr>
            </a:p>
          </p:txBody>
        </p:sp>
        <p:sp>
          <p:nvSpPr>
            <p:cNvPr id="51" name="Freeform: Shape 50">
              <a:extLst>
                <a:ext uri="{FF2B5EF4-FFF2-40B4-BE49-F238E27FC236}">
                  <a16:creationId xmlns:a16="http://schemas.microsoft.com/office/drawing/2014/main" id="{782839BE-C005-45FB-B0D4-522A5D4F7F0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34">
                <a:latin typeface="Arial" panose="020B0604020202020204" pitchFamily="34" charset="0"/>
              </a:endParaRPr>
            </a:p>
          </p:txBody>
        </p:sp>
        <p:sp>
          <p:nvSpPr>
            <p:cNvPr id="52" name="Freeform: Shape 51">
              <a:extLst>
                <a:ext uri="{FF2B5EF4-FFF2-40B4-BE49-F238E27FC236}">
                  <a16:creationId xmlns:a16="http://schemas.microsoft.com/office/drawing/2014/main" id="{1EDBF3DD-7BC0-4630-A5E1-34E86C56797A}"/>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34">
                <a:latin typeface="Arial" panose="020B0604020202020204" pitchFamily="34" charset="0"/>
              </a:endParaRPr>
            </a:p>
          </p:txBody>
        </p:sp>
        <p:sp>
          <p:nvSpPr>
            <p:cNvPr id="53" name="Freeform: Shape 52">
              <a:extLst>
                <a:ext uri="{FF2B5EF4-FFF2-40B4-BE49-F238E27FC236}">
                  <a16:creationId xmlns:a16="http://schemas.microsoft.com/office/drawing/2014/main" id="{3128AB3D-0910-486F-992E-B99BCE77670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34">
                <a:latin typeface="Arial" panose="020B0604020202020204" pitchFamily="34" charset="0"/>
              </a:endParaRPr>
            </a:p>
          </p:txBody>
        </p:sp>
      </p:grpSp>
    </p:spTree>
    <p:extLst>
      <p:ext uri="{BB962C8B-B14F-4D97-AF65-F5344CB8AC3E}">
        <p14:creationId xmlns:p14="http://schemas.microsoft.com/office/powerpoint/2010/main" val="16821331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Lst>
  <p:txStyles>
    <p:titleStyle>
      <a:lvl1pPr algn="l" defTabSz="685783" rtl="0" eaLnBrk="1" latinLnBrk="0" hangingPunct="1">
        <a:lnSpc>
          <a:spcPct val="90000"/>
        </a:lnSpc>
        <a:spcBef>
          <a:spcPct val="0"/>
        </a:spcBef>
        <a:buNone/>
        <a:defRPr sz="2400" b="0" i="0" kern="1200" cap="none" baseline="0">
          <a:solidFill>
            <a:schemeClr val="tx2"/>
          </a:solidFill>
          <a:latin typeface="+mj-lt"/>
          <a:ea typeface="+mj-ea"/>
          <a:cs typeface="Arial" panose="020B0604020202020204" pitchFamily="34" charset="0"/>
        </a:defRPr>
      </a:lvl1pPr>
    </p:titleStyle>
    <p:bodyStyle>
      <a:lvl1pPr marL="171446"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1pPr>
      <a:lvl2pPr marL="514338"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2pPr>
      <a:lvl3pPr marL="857230"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3pPr>
      <a:lvl4pPr marL="1200121"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4pPr>
      <a:lvl5pPr marL="1543014"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5pPr>
      <a:lvl6pPr marL="188590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9"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8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6" algn="l" defTabSz="685783" rtl="0" eaLnBrk="1" latinLnBrk="0" hangingPunct="1">
        <a:defRPr sz="1350" kern="1200">
          <a:solidFill>
            <a:schemeClr val="tx1"/>
          </a:solidFill>
          <a:latin typeface="+mn-lt"/>
          <a:ea typeface="+mn-ea"/>
          <a:cs typeface="+mn-cs"/>
        </a:defRPr>
      </a:lvl4pPr>
      <a:lvl5pPr marL="1371568" algn="l" defTabSz="685783" rtl="0" eaLnBrk="1" latinLnBrk="0" hangingPunct="1">
        <a:defRPr sz="1350" kern="1200">
          <a:solidFill>
            <a:schemeClr val="tx1"/>
          </a:solidFill>
          <a:latin typeface="+mn-lt"/>
          <a:ea typeface="+mn-ea"/>
          <a:cs typeface="+mn-cs"/>
        </a:defRPr>
      </a:lvl5pPr>
      <a:lvl6pPr marL="1714459" algn="l" defTabSz="685783" rtl="0" eaLnBrk="1" latinLnBrk="0" hangingPunct="1">
        <a:defRPr sz="1350" kern="1200">
          <a:solidFill>
            <a:schemeClr val="tx1"/>
          </a:solidFill>
          <a:latin typeface="+mn-lt"/>
          <a:ea typeface="+mn-ea"/>
          <a:cs typeface="+mn-cs"/>
        </a:defRPr>
      </a:lvl6pPr>
      <a:lvl7pPr marL="2057351" algn="l" defTabSz="685783" rtl="0" eaLnBrk="1" latinLnBrk="0" hangingPunct="1">
        <a:defRPr sz="1350" kern="1200">
          <a:solidFill>
            <a:schemeClr val="tx1"/>
          </a:solidFill>
          <a:latin typeface="+mn-lt"/>
          <a:ea typeface="+mn-ea"/>
          <a:cs typeface="+mn-cs"/>
        </a:defRPr>
      </a:lvl7pPr>
      <a:lvl8pPr marL="2400243" algn="l" defTabSz="685783" rtl="0" eaLnBrk="1" latinLnBrk="0" hangingPunct="1">
        <a:defRPr sz="1350" kern="1200">
          <a:solidFill>
            <a:schemeClr val="tx1"/>
          </a:solidFill>
          <a:latin typeface="+mn-lt"/>
          <a:ea typeface="+mn-ea"/>
          <a:cs typeface="+mn-cs"/>
        </a:defRPr>
      </a:lvl8pPr>
      <a:lvl9pPr marL="2743135"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95" imgH="394" progId="TCLayout.ActiveDocument.1">
                  <p:embed/>
                </p:oleObj>
              </mc:Choice>
              <mc:Fallback>
                <p:oleObj name="think-cell Slide" r:id="rId56" imgW="395" imgH="394" progId="TCLayout.ActiveDocument.1">
                  <p:embed/>
                  <p:pic>
                    <p:nvPicPr>
                      <p:cNvPr id="3" name="Object 2"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6"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0" name="Group 29">
            <a:extLst>
              <a:ext uri="{FF2B5EF4-FFF2-40B4-BE49-F238E27FC236}">
                <a16:creationId xmlns:a16="http://schemas.microsoft.com/office/drawing/2014/main" id="{BE94BDCA-2536-4B88-8AFF-EA9D29B02A90}"/>
              </a:ext>
            </a:extLst>
          </p:cNvPr>
          <p:cNvGrpSpPr/>
          <p:nvPr userDrawn="1"/>
        </p:nvGrpSpPr>
        <p:grpSpPr>
          <a:xfrm>
            <a:off x="12073966" y="-3096"/>
            <a:ext cx="127000" cy="6858000"/>
            <a:chOff x="12073965" y="-3096"/>
            <a:chExt cx="127000" cy="6096000"/>
          </a:xfrm>
        </p:grpSpPr>
        <p:sp>
          <p:nvSpPr>
            <p:cNvPr id="31" name="Freeform: Shape 30">
              <a:extLst>
                <a:ext uri="{FF2B5EF4-FFF2-40B4-BE49-F238E27FC236}">
                  <a16:creationId xmlns:a16="http://schemas.microsoft.com/office/drawing/2014/main" id="{4B2B01A8-CAAB-4518-BE09-E624D27BF02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latin typeface="Arial" panose="020B0604020202020204" pitchFamily="34" charset="0"/>
              </a:endParaRPr>
            </a:p>
          </p:txBody>
        </p:sp>
        <p:sp>
          <p:nvSpPr>
            <p:cNvPr id="32" name="Freeform: Shape 31">
              <a:extLst>
                <a:ext uri="{FF2B5EF4-FFF2-40B4-BE49-F238E27FC236}">
                  <a16:creationId xmlns:a16="http://schemas.microsoft.com/office/drawing/2014/main" id="{74C9E94D-1565-4686-817D-23CABE0CC11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latin typeface="Arial" panose="020B0604020202020204" pitchFamily="34" charset="0"/>
              </a:endParaRPr>
            </a:p>
          </p:txBody>
        </p:sp>
        <p:sp>
          <p:nvSpPr>
            <p:cNvPr id="33" name="Freeform: Shape 32">
              <a:extLst>
                <a:ext uri="{FF2B5EF4-FFF2-40B4-BE49-F238E27FC236}">
                  <a16:creationId xmlns:a16="http://schemas.microsoft.com/office/drawing/2014/main" id="{F3F77BBD-1B5B-40D7-B1E5-6219BFE27FE2}"/>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latin typeface="Arial" panose="020B0604020202020204" pitchFamily="34" charset="0"/>
              </a:endParaRPr>
            </a:p>
          </p:txBody>
        </p:sp>
        <p:sp>
          <p:nvSpPr>
            <p:cNvPr id="34" name="Freeform: Shape 33">
              <a:extLst>
                <a:ext uri="{FF2B5EF4-FFF2-40B4-BE49-F238E27FC236}">
                  <a16:creationId xmlns:a16="http://schemas.microsoft.com/office/drawing/2014/main" id="{7D3D6627-0EFC-4C39-8842-444911AE6E2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latin typeface="Arial" panose="020B0604020202020204" pitchFamily="34" charset="0"/>
              </a:endParaRPr>
            </a:p>
          </p:txBody>
        </p:sp>
        <p:sp>
          <p:nvSpPr>
            <p:cNvPr id="35" name="Freeform: Shape 34">
              <a:extLst>
                <a:ext uri="{FF2B5EF4-FFF2-40B4-BE49-F238E27FC236}">
                  <a16:creationId xmlns:a16="http://schemas.microsoft.com/office/drawing/2014/main" id="{1D130F3B-87FD-4758-AA23-7FBE6A43346C}"/>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latin typeface="Arial" panose="020B0604020202020204" pitchFamily="34" charset="0"/>
              </a:endParaRPr>
            </a:p>
          </p:txBody>
        </p:sp>
        <p:sp>
          <p:nvSpPr>
            <p:cNvPr id="36" name="Freeform: Shape 35">
              <a:extLst>
                <a:ext uri="{FF2B5EF4-FFF2-40B4-BE49-F238E27FC236}">
                  <a16:creationId xmlns:a16="http://schemas.microsoft.com/office/drawing/2014/main" id="{EA45E26C-FFD1-46EC-9E53-5CEC439ACAA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latin typeface="Arial" panose="020B0604020202020204" pitchFamily="34" charset="0"/>
              </a:endParaRPr>
            </a:p>
          </p:txBody>
        </p:sp>
        <p:sp>
          <p:nvSpPr>
            <p:cNvPr id="37" name="Freeform: Shape 36">
              <a:extLst>
                <a:ext uri="{FF2B5EF4-FFF2-40B4-BE49-F238E27FC236}">
                  <a16:creationId xmlns:a16="http://schemas.microsoft.com/office/drawing/2014/main" id="{A5A77EB6-9400-4B43-8D26-BBB55E581F4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latin typeface="Arial" panose="020B0604020202020204" pitchFamily="34" charset="0"/>
              </a:endParaRPr>
            </a:p>
          </p:txBody>
        </p:sp>
        <p:sp>
          <p:nvSpPr>
            <p:cNvPr id="38" name="Freeform: Shape 37">
              <a:extLst>
                <a:ext uri="{FF2B5EF4-FFF2-40B4-BE49-F238E27FC236}">
                  <a16:creationId xmlns:a16="http://schemas.microsoft.com/office/drawing/2014/main" id="{7BA377B7-8223-4995-8D1F-E841F6641D5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latin typeface="Arial" panose="020B0604020202020204" pitchFamily="34" charset="0"/>
              </a:endParaRPr>
            </a:p>
          </p:txBody>
        </p:sp>
        <p:sp>
          <p:nvSpPr>
            <p:cNvPr id="39" name="Freeform: Shape 38">
              <a:extLst>
                <a:ext uri="{FF2B5EF4-FFF2-40B4-BE49-F238E27FC236}">
                  <a16:creationId xmlns:a16="http://schemas.microsoft.com/office/drawing/2014/main" id="{1F5CB352-51F4-416E-9843-2FDA2CDCFFD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59" dirty="0">
                <a:latin typeface="Arial" panose="020B0604020202020204" pitchFamily="34" charset="0"/>
              </a:endParaRPr>
            </a:p>
          </p:txBody>
        </p:sp>
        <p:sp>
          <p:nvSpPr>
            <p:cNvPr id="40" name="Freeform: Shape 39">
              <a:extLst>
                <a:ext uri="{FF2B5EF4-FFF2-40B4-BE49-F238E27FC236}">
                  <a16:creationId xmlns:a16="http://schemas.microsoft.com/office/drawing/2014/main" id="{864049F1-6F28-4BD5-A3F9-787894119F0C}"/>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59" dirty="0">
                <a:latin typeface="Arial" panose="020B0604020202020204" pitchFamily="34" charset="0"/>
              </a:endParaRPr>
            </a:p>
          </p:txBody>
        </p:sp>
        <p:sp>
          <p:nvSpPr>
            <p:cNvPr id="41" name="Freeform: Shape 40">
              <a:extLst>
                <a:ext uri="{FF2B5EF4-FFF2-40B4-BE49-F238E27FC236}">
                  <a16:creationId xmlns:a16="http://schemas.microsoft.com/office/drawing/2014/main" id="{DBB56152-1B05-4C86-A657-63322BDB6C9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59" dirty="0">
                <a:latin typeface="Arial" panose="020B0604020202020204" pitchFamily="34" charset="0"/>
              </a:endParaRPr>
            </a:p>
          </p:txBody>
        </p:sp>
        <p:sp>
          <p:nvSpPr>
            <p:cNvPr id="42" name="Freeform: Shape 41">
              <a:extLst>
                <a:ext uri="{FF2B5EF4-FFF2-40B4-BE49-F238E27FC236}">
                  <a16:creationId xmlns:a16="http://schemas.microsoft.com/office/drawing/2014/main" id="{767AB39A-DEC1-4733-932D-7B4E520D21F2}"/>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59" dirty="0">
                <a:latin typeface="Arial" panose="020B0604020202020204" pitchFamily="34" charset="0"/>
              </a:endParaRPr>
            </a:p>
          </p:txBody>
        </p:sp>
        <p:sp>
          <p:nvSpPr>
            <p:cNvPr id="43" name="Freeform: Shape 42">
              <a:extLst>
                <a:ext uri="{FF2B5EF4-FFF2-40B4-BE49-F238E27FC236}">
                  <a16:creationId xmlns:a16="http://schemas.microsoft.com/office/drawing/2014/main" id="{474560DA-5BC7-4BD1-B373-279BD363DCCB}"/>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59" dirty="0">
                <a:latin typeface="Arial" panose="020B0604020202020204" pitchFamily="34" charset="0"/>
              </a:endParaRPr>
            </a:p>
          </p:txBody>
        </p:sp>
        <p:sp>
          <p:nvSpPr>
            <p:cNvPr id="44" name="Freeform: Shape 43">
              <a:extLst>
                <a:ext uri="{FF2B5EF4-FFF2-40B4-BE49-F238E27FC236}">
                  <a16:creationId xmlns:a16="http://schemas.microsoft.com/office/drawing/2014/main" id="{53DA5BCB-D097-4706-8AFE-10AEE639F80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59" dirty="0">
                <a:latin typeface="Arial" panose="020B0604020202020204" pitchFamily="34" charset="0"/>
              </a:endParaRPr>
            </a:p>
          </p:txBody>
        </p:sp>
        <p:sp>
          <p:nvSpPr>
            <p:cNvPr id="45" name="Freeform: Shape 44">
              <a:extLst>
                <a:ext uri="{FF2B5EF4-FFF2-40B4-BE49-F238E27FC236}">
                  <a16:creationId xmlns:a16="http://schemas.microsoft.com/office/drawing/2014/main" id="{EF9B4E66-BB7A-45D0-80C0-4166893C05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59" dirty="0">
                <a:latin typeface="Arial" panose="020B0604020202020204" pitchFamily="34" charset="0"/>
              </a:endParaRPr>
            </a:p>
          </p:txBody>
        </p:sp>
        <p:sp>
          <p:nvSpPr>
            <p:cNvPr id="46" name="Freeform: Shape 45">
              <a:extLst>
                <a:ext uri="{FF2B5EF4-FFF2-40B4-BE49-F238E27FC236}">
                  <a16:creationId xmlns:a16="http://schemas.microsoft.com/office/drawing/2014/main" id="{57875DD7-D580-4E36-BF61-772DB9CA027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59" dirty="0">
                <a:latin typeface="Arial" panose="020B0604020202020204" pitchFamily="34" charset="0"/>
              </a:endParaRPr>
            </a:p>
          </p:txBody>
        </p:sp>
      </p:grpSp>
      <p:cxnSp>
        <p:nvCxnSpPr>
          <p:cNvPr id="23" name="Straight Connector 22">
            <a:extLst>
              <a:ext uri="{FF2B5EF4-FFF2-40B4-BE49-F238E27FC236}">
                <a16:creationId xmlns:a16="http://schemas.microsoft.com/office/drawing/2014/main" id="{FCD73458-4117-4C4B-AA8A-2B103B9D8967}"/>
              </a:ext>
            </a:extLst>
          </p:cNvPr>
          <p:cNvCxnSpPr/>
          <p:nvPr userDrawn="1"/>
        </p:nvCxnSpPr>
        <p:spPr>
          <a:xfrm>
            <a:off x="358776" y="6373632"/>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42552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7" r:id="rId53"/>
  </p:sldLayoutIdLst>
  <p:hf sldNum="0" hdr="0" ftr="0" dt="0"/>
  <p:txStyles>
    <p:titleStyle>
      <a:lvl1pPr algn="l" defTabSz="727510" rtl="0" eaLnBrk="1" latinLnBrk="0" hangingPunct="1">
        <a:lnSpc>
          <a:spcPct val="90000"/>
        </a:lnSpc>
        <a:spcBef>
          <a:spcPct val="0"/>
        </a:spcBef>
        <a:buNone/>
        <a:defRPr sz="2546" b="1" i="0" kern="1200" cap="none" baseline="0">
          <a:solidFill>
            <a:schemeClr val="tx2"/>
          </a:solidFill>
          <a:latin typeface="+mj-lt"/>
          <a:ea typeface="+mj-ea"/>
          <a:cs typeface="Arial" panose="020B0604020202020204" pitchFamily="34" charset="0"/>
        </a:defRPr>
      </a:lvl1pPr>
    </p:titleStyle>
    <p:bodyStyle>
      <a:lvl1pPr marL="18187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1pPr>
      <a:lvl2pPr marL="545633"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2pPr>
      <a:lvl3pPr marL="90938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3pPr>
      <a:lvl4pPr marL="1273142"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4pPr>
      <a:lvl5pPr marL="163689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5pPr>
      <a:lvl6pPr marL="2000652"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4407"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8162"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1916"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p:bodyStyle>
    <p:otherStyle>
      <a:defPPr>
        <a:defRPr lang="en-US"/>
      </a:defPPr>
      <a:lvl1pPr marL="0" algn="l" defTabSz="727510" rtl="0" eaLnBrk="1" latinLnBrk="0" hangingPunct="1">
        <a:defRPr sz="1432" kern="1200">
          <a:solidFill>
            <a:schemeClr val="tx1"/>
          </a:solidFill>
          <a:latin typeface="+mn-lt"/>
          <a:ea typeface="+mn-ea"/>
          <a:cs typeface="+mn-cs"/>
        </a:defRPr>
      </a:lvl1pPr>
      <a:lvl2pPr marL="363755" algn="l" defTabSz="727510" rtl="0" eaLnBrk="1" latinLnBrk="0" hangingPunct="1">
        <a:defRPr sz="1432" kern="1200">
          <a:solidFill>
            <a:schemeClr val="tx1"/>
          </a:solidFill>
          <a:latin typeface="+mn-lt"/>
          <a:ea typeface="+mn-ea"/>
          <a:cs typeface="+mn-cs"/>
        </a:defRPr>
      </a:lvl2pPr>
      <a:lvl3pPr marL="727510" algn="l" defTabSz="727510" rtl="0" eaLnBrk="1" latinLnBrk="0" hangingPunct="1">
        <a:defRPr sz="1432" kern="1200">
          <a:solidFill>
            <a:schemeClr val="tx1"/>
          </a:solidFill>
          <a:latin typeface="+mn-lt"/>
          <a:ea typeface="+mn-ea"/>
          <a:cs typeface="+mn-cs"/>
        </a:defRPr>
      </a:lvl3pPr>
      <a:lvl4pPr marL="1091265" algn="l" defTabSz="727510" rtl="0" eaLnBrk="1" latinLnBrk="0" hangingPunct="1">
        <a:defRPr sz="1432" kern="1200">
          <a:solidFill>
            <a:schemeClr val="tx1"/>
          </a:solidFill>
          <a:latin typeface="+mn-lt"/>
          <a:ea typeface="+mn-ea"/>
          <a:cs typeface="+mn-cs"/>
        </a:defRPr>
      </a:lvl4pPr>
      <a:lvl5pPr marL="1455020" algn="l" defTabSz="727510" rtl="0" eaLnBrk="1" latinLnBrk="0" hangingPunct="1">
        <a:defRPr sz="1432" kern="1200">
          <a:solidFill>
            <a:schemeClr val="tx1"/>
          </a:solidFill>
          <a:latin typeface="+mn-lt"/>
          <a:ea typeface="+mn-ea"/>
          <a:cs typeface="+mn-cs"/>
        </a:defRPr>
      </a:lvl5pPr>
      <a:lvl6pPr marL="1818775" algn="l" defTabSz="727510" rtl="0" eaLnBrk="1" latinLnBrk="0" hangingPunct="1">
        <a:defRPr sz="1432" kern="1200">
          <a:solidFill>
            <a:schemeClr val="tx1"/>
          </a:solidFill>
          <a:latin typeface="+mn-lt"/>
          <a:ea typeface="+mn-ea"/>
          <a:cs typeface="+mn-cs"/>
        </a:defRPr>
      </a:lvl6pPr>
      <a:lvl7pPr marL="2182529" algn="l" defTabSz="727510" rtl="0" eaLnBrk="1" latinLnBrk="0" hangingPunct="1">
        <a:defRPr sz="1432" kern="1200">
          <a:solidFill>
            <a:schemeClr val="tx1"/>
          </a:solidFill>
          <a:latin typeface="+mn-lt"/>
          <a:ea typeface="+mn-ea"/>
          <a:cs typeface="+mn-cs"/>
        </a:defRPr>
      </a:lvl7pPr>
      <a:lvl8pPr marL="2546285" algn="l" defTabSz="727510" rtl="0" eaLnBrk="1" latinLnBrk="0" hangingPunct="1">
        <a:defRPr sz="1432" kern="1200">
          <a:solidFill>
            <a:schemeClr val="tx1"/>
          </a:solidFill>
          <a:latin typeface="+mn-lt"/>
          <a:ea typeface="+mn-ea"/>
          <a:cs typeface="+mn-cs"/>
        </a:defRPr>
      </a:lvl8pPr>
      <a:lvl9pPr marL="2910039" algn="l" defTabSz="727510" rtl="0" eaLnBrk="1" latinLnBrk="0" hangingPunct="1">
        <a:defRPr sz="143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33525580-F95A-4B7C-ACA7-8CFAB1A7A523}"/>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259AFF2A-C511-4FF5-93DF-B6C8A283C926}"/>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0B205D5C-6DBF-4E2E-90BB-F201C6D60E4A}"/>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79D58B0E-3B38-469F-82A8-E22EE4EFBA77}"/>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87C8DFD0-51E4-42AD-9DF9-682FD86BC957}"/>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78585C1E-7A0E-4F53-ABB0-CDF4769CCB4C}"/>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948EEE69-3616-419F-BB35-1F05FACC0AB8}"/>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18EEC0A3-7F93-4031-A8F1-ADD0383D5305}"/>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A5069A6B-9BB2-476A-BCE6-C8433FBB4A28}"/>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7678D2E2-AF18-42E0-898F-16480F3ACCB7}"/>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A26D7935-17B1-43A0-9B38-8C04FED80733}"/>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72716AF1-2642-4236-90C5-547B5CB32F5A}"/>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FF2413FC-ABF5-4257-A414-E4589D1DF57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9A9C6E8-6C2C-4C4B-87B7-69F7C88A7A94}"/>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1A8AA545-BB1D-4415-820F-4134EF1551C5}"/>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58D2EDC5-E7F6-4DAE-A3E3-64F2460D0C74}"/>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3AAA8A36-8E6C-4A8D-A807-EEFA4B5026D1}"/>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7" name="Freeform: Shape 26">
              <a:extLst>
                <a:ext uri="{FF2B5EF4-FFF2-40B4-BE49-F238E27FC236}">
                  <a16:creationId xmlns:a16="http://schemas.microsoft.com/office/drawing/2014/main" id="{E9B5A63D-6C91-44F2-8717-1D9F7CA8D60C}"/>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8" name="Freeform: Shape 27">
              <a:extLst>
                <a:ext uri="{FF2B5EF4-FFF2-40B4-BE49-F238E27FC236}">
                  <a16:creationId xmlns:a16="http://schemas.microsoft.com/office/drawing/2014/main" id="{3441DCEF-3F17-4DC3-B27D-6F6FFA14C594}"/>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30" name="Object 29" hidden="1">
            <a:extLst>
              <a:ext uri="{FF2B5EF4-FFF2-40B4-BE49-F238E27FC236}">
                <a16:creationId xmlns:a16="http://schemas.microsoft.com/office/drawing/2014/main" id="{E1CA89CE-9071-4B7B-9E02-16C170000341}"/>
              </a:ext>
            </a:extLst>
          </p:cNvPr>
          <p:cNvGraphicFramePr>
            <a:graphicFrameLocks noChangeAspect="1"/>
          </p:cNvGraphicFramePr>
          <p:nvPr userDrawn="1">
            <p:custDataLst>
              <p:tags r:id="rId60"/>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Slide" r:id="rId62" imgW="524" imgH="526" progId="TCLayout.ActiveDocument.1">
                  <p:embed/>
                </p:oleObj>
              </mc:Choice>
              <mc:Fallback>
                <p:oleObj name="think-cell Slide" r:id="rId62" imgW="524" imgH="526" progId="TCLayout.ActiveDocument.1">
                  <p:embed/>
                  <p:pic>
                    <p:nvPicPr>
                      <p:cNvPr id="30" name="Object 29" hidden="1">
                        <a:extLst>
                          <a:ext uri="{FF2B5EF4-FFF2-40B4-BE49-F238E27FC236}">
                            <a16:creationId xmlns:a16="http://schemas.microsoft.com/office/drawing/2014/main" id="{E1CA89CE-9071-4B7B-9E02-16C170000341}"/>
                          </a:ext>
                        </a:extLst>
                      </p:cNvPr>
                      <p:cNvPicPr/>
                      <p:nvPr/>
                    </p:nvPicPr>
                    <p:blipFill>
                      <a:blip r:embed="rId63"/>
                      <a:stretch>
                        <a:fillRect/>
                      </a:stretch>
                    </p:blipFill>
                    <p:spPr>
                      <a:xfrm>
                        <a:off x="1955" y="1588"/>
                        <a:ext cx="1955"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C3A2DA49-1497-4C62-83F9-AA1D0BB9FB62}"/>
              </a:ext>
            </a:extLst>
          </p:cNvPr>
          <p:cNvSpPr/>
          <p:nvPr userDrawn="1">
            <p:custDataLst>
              <p:tags r:id="rId61"/>
            </p:custDataLst>
          </p:nvPr>
        </p:nvSpPr>
        <p:spPr bwMode="gray">
          <a:xfrm>
            <a:off x="0" y="0"/>
            <a:ext cx="195385"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77"/>
              </a:spcBef>
              <a:buFont typeface="Courier New" pitchFamily="49" charset="0"/>
              <a:buNone/>
            </a:pPr>
            <a:endParaRPr lang="en-US" sz="2811"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2" name="TextBox 31">
            <a:extLst>
              <a:ext uri="{FF2B5EF4-FFF2-40B4-BE49-F238E27FC236}">
                <a16:creationId xmlns:a16="http://schemas.microsoft.com/office/drawing/2014/main" id="{E7C99CB1-2F75-42EA-A28A-0DC6775D0994}"/>
              </a:ext>
            </a:extLst>
          </p:cNvPr>
          <p:cNvSpPr txBox="1"/>
          <p:nvPr userDrawn="1"/>
        </p:nvSpPr>
        <p:spPr>
          <a:xfrm>
            <a:off x="358775" y="6667344"/>
            <a:ext cx="6157683" cy="154069"/>
          </a:xfrm>
          <a:prstGeom prst="rect">
            <a:avLst/>
          </a:prstGeom>
          <a:noFill/>
        </p:spPr>
        <p:txBody>
          <a:bodyPr wrap="square" lIns="0" tIns="0" rIns="0" bIns="0" rtlCol="0" anchor="ctr">
            <a:noAutofit/>
          </a:bodyPr>
          <a:lstStyle/>
          <a:p>
            <a:pPr marL="0" marR="0" lvl="0" indent="0" algn="l" defTabSz="836744" rtl="0" eaLnBrk="1" fontAlgn="auto" latinLnBrk="0" hangingPunct="1">
              <a:lnSpc>
                <a:spcPct val="100000"/>
              </a:lnSpc>
              <a:spcBef>
                <a:spcPts val="0"/>
              </a:spcBef>
              <a:spcAft>
                <a:spcPts val="0"/>
              </a:spcAft>
              <a:buClrTx/>
              <a:buSzTx/>
              <a:buFontTx/>
              <a:buNone/>
              <a:tabLst/>
              <a:defRPr/>
            </a:pPr>
            <a:r>
              <a:rPr lang="en-GB" sz="681" b="0" cap="all" baseline="0">
                <a:solidFill>
                  <a:schemeClr val="tx1">
                    <a:lumMod val="50000"/>
                  </a:schemeClr>
                </a:solidFill>
                <a:latin typeface="Arial" panose="020B0604020202020204" pitchFamily="34" charset="0"/>
                <a:cs typeface="Arial" panose="020B0604020202020204" pitchFamily="34" charset="0"/>
              </a:rPr>
              <a:t>Confidential </a:t>
            </a:r>
          </a:p>
        </p:txBody>
      </p:sp>
      <p:sp>
        <p:nvSpPr>
          <p:cNvPr id="33" name="Title Placeholder 3">
            <a:extLst>
              <a:ext uri="{FF2B5EF4-FFF2-40B4-BE49-F238E27FC236}">
                <a16:creationId xmlns:a16="http://schemas.microsoft.com/office/drawing/2014/main" id="{0CA8DDFE-28D4-467B-A506-FD0863426B03}"/>
              </a:ext>
            </a:extLst>
          </p:cNvPr>
          <p:cNvSpPr>
            <a:spLocks noGrp="1"/>
          </p:cNvSpPr>
          <p:nvPr>
            <p:ph type="title"/>
          </p:nvPr>
        </p:nvSpPr>
        <p:spPr>
          <a:xfrm>
            <a:off x="358775" y="445814"/>
            <a:ext cx="11337925" cy="589182"/>
          </a:xfrm>
          <a:prstGeom prst="rect">
            <a:avLst/>
          </a:prstGeom>
        </p:spPr>
        <p:txBody>
          <a:bodyPr vert="horz" lIns="0" tIns="41994" rIns="83988" bIns="41994" rtlCol="0" anchor="b">
            <a:noAutofit/>
          </a:bodyPr>
          <a:lstStyle/>
          <a:p>
            <a:r>
              <a:rPr lang="en-US"/>
              <a:t>Add title</a:t>
            </a:r>
            <a:endParaRPr lang="en-GB"/>
          </a:p>
        </p:txBody>
      </p:sp>
      <p:sp>
        <p:nvSpPr>
          <p:cNvPr id="34" name="Text Placeholder 4">
            <a:extLst>
              <a:ext uri="{FF2B5EF4-FFF2-40B4-BE49-F238E27FC236}">
                <a16:creationId xmlns:a16="http://schemas.microsoft.com/office/drawing/2014/main" id="{9E83922F-2CEC-4F16-A891-B29D856DB8DB}"/>
              </a:ext>
            </a:extLst>
          </p:cNvPr>
          <p:cNvSpPr>
            <a:spLocks noGrp="1"/>
          </p:cNvSpPr>
          <p:nvPr>
            <p:ph type="body" idx="1"/>
          </p:nvPr>
        </p:nvSpPr>
        <p:spPr>
          <a:xfrm>
            <a:off x="358775" y="1339346"/>
            <a:ext cx="11337925" cy="4637281"/>
          </a:xfrm>
          <a:prstGeom prst="rect">
            <a:avLst/>
          </a:prstGeom>
        </p:spPr>
        <p:txBody>
          <a:bodyPr vert="horz" lIns="0" tIns="41994" rIns="83988" bIns="41994"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Box 34">
            <a:extLst>
              <a:ext uri="{FF2B5EF4-FFF2-40B4-BE49-F238E27FC236}">
                <a16:creationId xmlns:a16="http://schemas.microsoft.com/office/drawing/2014/main" id="{F4E3DE35-CF96-431B-90B7-123C545C7E20}"/>
              </a:ext>
            </a:extLst>
          </p:cNvPr>
          <p:cNvSpPr txBox="1"/>
          <p:nvPr userDrawn="1"/>
        </p:nvSpPr>
        <p:spPr>
          <a:xfrm>
            <a:off x="358778" y="6481073"/>
            <a:ext cx="401714" cy="154068"/>
          </a:xfrm>
          <a:prstGeom prst="rect">
            <a:avLst/>
          </a:prstGeom>
          <a:noFill/>
        </p:spPr>
        <p:txBody>
          <a:bodyPr wrap="square" lIns="0" tIns="0" rIns="0" bIns="0" rtlCol="0" anchor="ctr">
            <a:noAutofit/>
          </a:bodyPr>
          <a:lstStyle/>
          <a:p>
            <a:pPr algn="l"/>
            <a:fld id="{13D9B5B3-34F1-4574-8603-EBF049354228}" type="slidenum">
              <a:rPr lang="en-GB" sz="681" b="0" smtClean="0">
                <a:solidFill>
                  <a:schemeClr val="tx1">
                    <a:lumMod val="50000"/>
                  </a:schemeClr>
                </a:solidFill>
                <a:latin typeface="Arial" panose="020B0604020202020204" pitchFamily="34" charset="0"/>
                <a:cs typeface="Arial" panose="020B0604020202020204" pitchFamily="34" charset="0"/>
              </a:rPr>
              <a:pPr algn="l"/>
              <a:t>‹#›</a:t>
            </a:fld>
            <a:r>
              <a:rPr lang="en-GB" sz="681" b="0">
                <a:solidFill>
                  <a:schemeClr val="tx1">
                    <a:lumMod val="50000"/>
                  </a:schemeClr>
                </a:solidFill>
                <a:latin typeface="Arial" panose="020B0604020202020204" pitchFamily="34" charset="0"/>
                <a:cs typeface="Arial" panose="020B0604020202020204" pitchFamily="34" charset="0"/>
              </a:rPr>
              <a:t>  |</a:t>
            </a:r>
          </a:p>
        </p:txBody>
      </p:sp>
      <p:cxnSp>
        <p:nvCxnSpPr>
          <p:cNvPr id="36" name="Straight Connector 35">
            <a:extLst>
              <a:ext uri="{FF2B5EF4-FFF2-40B4-BE49-F238E27FC236}">
                <a16:creationId xmlns:a16="http://schemas.microsoft.com/office/drawing/2014/main" id="{BF1308C9-845C-4EAE-AF67-608436A218AE}"/>
              </a:ext>
            </a:extLst>
          </p:cNvPr>
          <p:cNvCxnSpPr/>
          <p:nvPr userDrawn="1"/>
        </p:nvCxnSpPr>
        <p:spPr>
          <a:xfrm>
            <a:off x="358775" y="6443621"/>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9A1EC2-AD0C-499E-8DFD-ABD6F4A4D4DB}"/>
              </a:ext>
            </a:extLst>
          </p:cNvPr>
          <p:cNvGrpSpPr/>
          <p:nvPr userDrawn="1"/>
        </p:nvGrpSpPr>
        <p:grpSpPr>
          <a:xfrm>
            <a:off x="12048322" y="0"/>
            <a:ext cx="143679" cy="6858000"/>
            <a:chOff x="12073965" y="-3096"/>
            <a:chExt cx="127000" cy="6096000"/>
          </a:xfrm>
        </p:grpSpPr>
        <p:sp>
          <p:nvSpPr>
            <p:cNvPr id="38" name="Freeform: Shape 37">
              <a:extLst>
                <a:ext uri="{FF2B5EF4-FFF2-40B4-BE49-F238E27FC236}">
                  <a16:creationId xmlns:a16="http://schemas.microsoft.com/office/drawing/2014/main" id="{2F99D7DE-C09C-47AB-951E-6C119971146E}"/>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39" name="Freeform: Shape 38">
              <a:extLst>
                <a:ext uri="{FF2B5EF4-FFF2-40B4-BE49-F238E27FC236}">
                  <a16:creationId xmlns:a16="http://schemas.microsoft.com/office/drawing/2014/main" id="{7A4D2D38-25E2-4055-AA35-0C61300A54D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0" name="Freeform: Shape 39">
              <a:extLst>
                <a:ext uri="{FF2B5EF4-FFF2-40B4-BE49-F238E27FC236}">
                  <a16:creationId xmlns:a16="http://schemas.microsoft.com/office/drawing/2014/main" id="{3E86B2DD-BA39-45E8-BCC3-9600C7F55EB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1" name="Freeform: Shape 40">
              <a:extLst>
                <a:ext uri="{FF2B5EF4-FFF2-40B4-BE49-F238E27FC236}">
                  <a16:creationId xmlns:a16="http://schemas.microsoft.com/office/drawing/2014/main" id="{7C932CC7-BFF1-46EB-BC84-7E7D62140A1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2" name="Freeform: Shape 41">
              <a:extLst>
                <a:ext uri="{FF2B5EF4-FFF2-40B4-BE49-F238E27FC236}">
                  <a16:creationId xmlns:a16="http://schemas.microsoft.com/office/drawing/2014/main" id="{209CC176-983B-416D-8EFC-F6E7833C9A91}"/>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3" name="Freeform: Shape 42">
              <a:extLst>
                <a:ext uri="{FF2B5EF4-FFF2-40B4-BE49-F238E27FC236}">
                  <a16:creationId xmlns:a16="http://schemas.microsoft.com/office/drawing/2014/main" id="{E0FB10CE-0DE5-470B-AA42-82E3F23AC555}"/>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44" name="Freeform: Shape 43">
              <a:extLst>
                <a:ext uri="{FF2B5EF4-FFF2-40B4-BE49-F238E27FC236}">
                  <a16:creationId xmlns:a16="http://schemas.microsoft.com/office/drawing/2014/main" id="{145FEFA8-7E19-4553-9E43-0286D89CFC21}"/>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5" name="Freeform: Shape 44">
              <a:extLst>
                <a:ext uri="{FF2B5EF4-FFF2-40B4-BE49-F238E27FC236}">
                  <a16:creationId xmlns:a16="http://schemas.microsoft.com/office/drawing/2014/main" id="{B4A7E97B-611C-45B2-8D1C-B016A988D57C}"/>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6" name="Freeform: Shape 45">
              <a:extLst>
                <a:ext uri="{FF2B5EF4-FFF2-40B4-BE49-F238E27FC236}">
                  <a16:creationId xmlns:a16="http://schemas.microsoft.com/office/drawing/2014/main" id="{45FFBF32-9440-440E-8030-566C069549C2}"/>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34">
                <a:latin typeface="Arial" panose="020B0604020202020204" pitchFamily="34" charset="0"/>
              </a:endParaRPr>
            </a:p>
          </p:txBody>
        </p:sp>
        <p:sp>
          <p:nvSpPr>
            <p:cNvPr id="47" name="Freeform: Shape 46">
              <a:extLst>
                <a:ext uri="{FF2B5EF4-FFF2-40B4-BE49-F238E27FC236}">
                  <a16:creationId xmlns:a16="http://schemas.microsoft.com/office/drawing/2014/main" id="{2714DB7E-A4E2-4775-A9ED-2544D04ABA7B}"/>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34">
                <a:latin typeface="Arial" panose="020B0604020202020204" pitchFamily="34" charset="0"/>
              </a:endParaRPr>
            </a:p>
          </p:txBody>
        </p:sp>
        <p:sp>
          <p:nvSpPr>
            <p:cNvPr id="48" name="Freeform: Shape 47">
              <a:extLst>
                <a:ext uri="{FF2B5EF4-FFF2-40B4-BE49-F238E27FC236}">
                  <a16:creationId xmlns:a16="http://schemas.microsoft.com/office/drawing/2014/main" id="{992096DA-EEC8-49C0-8D1D-CCC0C41CD78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34">
                <a:latin typeface="Arial" panose="020B0604020202020204" pitchFamily="34" charset="0"/>
              </a:endParaRPr>
            </a:p>
          </p:txBody>
        </p:sp>
        <p:sp>
          <p:nvSpPr>
            <p:cNvPr id="49" name="Freeform: Shape 48">
              <a:extLst>
                <a:ext uri="{FF2B5EF4-FFF2-40B4-BE49-F238E27FC236}">
                  <a16:creationId xmlns:a16="http://schemas.microsoft.com/office/drawing/2014/main" id="{B19FA396-6233-4C3E-A29C-A1D9E6E29C7D}"/>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34">
                <a:latin typeface="Arial" panose="020B0604020202020204" pitchFamily="34" charset="0"/>
              </a:endParaRPr>
            </a:p>
          </p:txBody>
        </p:sp>
        <p:sp>
          <p:nvSpPr>
            <p:cNvPr id="50" name="Freeform: Shape 49">
              <a:extLst>
                <a:ext uri="{FF2B5EF4-FFF2-40B4-BE49-F238E27FC236}">
                  <a16:creationId xmlns:a16="http://schemas.microsoft.com/office/drawing/2014/main" id="{3A0CACDC-A660-43A2-9B04-B8935D852AE5}"/>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34">
                <a:latin typeface="Arial" panose="020B0604020202020204" pitchFamily="34" charset="0"/>
              </a:endParaRPr>
            </a:p>
          </p:txBody>
        </p:sp>
        <p:sp>
          <p:nvSpPr>
            <p:cNvPr id="51" name="Freeform: Shape 50">
              <a:extLst>
                <a:ext uri="{FF2B5EF4-FFF2-40B4-BE49-F238E27FC236}">
                  <a16:creationId xmlns:a16="http://schemas.microsoft.com/office/drawing/2014/main" id="{782839BE-C005-45FB-B0D4-522A5D4F7F0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34">
                <a:latin typeface="Arial" panose="020B0604020202020204" pitchFamily="34" charset="0"/>
              </a:endParaRPr>
            </a:p>
          </p:txBody>
        </p:sp>
        <p:sp>
          <p:nvSpPr>
            <p:cNvPr id="52" name="Freeform: Shape 51">
              <a:extLst>
                <a:ext uri="{FF2B5EF4-FFF2-40B4-BE49-F238E27FC236}">
                  <a16:creationId xmlns:a16="http://schemas.microsoft.com/office/drawing/2014/main" id="{1EDBF3DD-7BC0-4630-A5E1-34E86C56797A}"/>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34">
                <a:latin typeface="Arial" panose="020B0604020202020204" pitchFamily="34" charset="0"/>
              </a:endParaRPr>
            </a:p>
          </p:txBody>
        </p:sp>
        <p:sp>
          <p:nvSpPr>
            <p:cNvPr id="53" name="Freeform: Shape 52">
              <a:extLst>
                <a:ext uri="{FF2B5EF4-FFF2-40B4-BE49-F238E27FC236}">
                  <a16:creationId xmlns:a16="http://schemas.microsoft.com/office/drawing/2014/main" id="{3128AB3D-0910-486F-992E-B99BCE77670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34">
                <a:latin typeface="Arial" panose="020B0604020202020204" pitchFamily="34" charset="0"/>
              </a:endParaRPr>
            </a:p>
          </p:txBody>
        </p:sp>
      </p:grpSp>
    </p:spTree>
    <p:extLst>
      <p:ext uri="{BB962C8B-B14F-4D97-AF65-F5344CB8AC3E}">
        <p14:creationId xmlns:p14="http://schemas.microsoft.com/office/powerpoint/2010/main" val="191853692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 id="2147483824" r:id="rId44"/>
    <p:sldLayoutId id="2147483825" r:id="rId45"/>
    <p:sldLayoutId id="2147483826" r:id="rId46"/>
    <p:sldLayoutId id="2147483827" r:id="rId47"/>
    <p:sldLayoutId id="2147483828" r:id="rId48"/>
    <p:sldLayoutId id="2147483829" r:id="rId49"/>
    <p:sldLayoutId id="2147483830" r:id="rId50"/>
    <p:sldLayoutId id="2147483831" r:id="rId51"/>
    <p:sldLayoutId id="2147483832" r:id="rId52"/>
    <p:sldLayoutId id="2147483833" r:id="rId53"/>
    <p:sldLayoutId id="2147483834" r:id="rId54"/>
    <p:sldLayoutId id="2147483835" r:id="rId55"/>
    <p:sldLayoutId id="2147483836" r:id="rId56"/>
    <p:sldLayoutId id="2147483837" r:id="rId57"/>
    <p:sldLayoutId id="2147483838" r:id="rId58"/>
  </p:sldLayoutIdLst>
  <p:txStyles>
    <p:titleStyle>
      <a:lvl1pPr algn="l" defTabSz="685783" rtl="0" eaLnBrk="1" latinLnBrk="0" hangingPunct="1">
        <a:lnSpc>
          <a:spcPct val="90000"/>
        </a:lnSpc>
        <a:spcBef>
          <a:spcPct val="0"/>
        </a:spcBef>
        <a:buNone/>
        <a:defRPr sz="2400" b="0" i="0" kern="1200" cap="none" baseline="0">
          <a:solidFill>
            <a:schemeClr val="tx2"/>
          </a:solidFill>
          <a:latin typeface="+mj-lt"/>
          <a:ea typeface="+mj-ea"/>
          <a:cs typeface="Arial" panose="020B0604020202020204" pitchFamily="34" charset="0"/>
        </a:defRPr>
      </a:lvl1pPr>
    </p:titleStyle>
    <p:bodyStyle>
      <a:lvl1pPr marL="171446"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1pPr>
      <a:lvl2pPr marL="514338"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2pPr>
      <a:lvl3pPr marL="857230"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3pPr>
      <a:lvl4pPr marL="1200121"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4pPr>
      <a:lvl5pPr marL="1543014"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5pPr>
      <a:lvl6pPr marL="188590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9"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8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6" algn="l" defTabSz="685783" rtl="0" eaLnBrk="1" latinLnBrk="0" hangingPunct="1">
        <a:defRPr sz="1350" kern="1200">
          <a:solidFill>
            <a:schemeClr val="tx1"/>
          </a:solidFill>
          <a:latin typeface="+mn-lt"/>
          <a:ea typeface="+mn-ea"/>
          <a:cs typeface="+mn-cs"/>
        </a:defRPr>
      </a:lvl4pPr>
      <a:lvl5pPr marL="1371568" algn="l" defTabSz="685783" rtl="0" eaLnBrk="1" latinLnBrk="0" hangingPunct="1">
        <a:defRPr sz="1350" kern="1200">
          <a:solidFill>
            <a:schemeClr val="tx1"/>
          </a:solidFill>
          <a:latin typeface="+mn-lt"/>
          <a:ea typeface="+mn-ea"/>
          <a:cs typeface="+mn-cs"/>
        </a:defRPr>
      </a:lvl5pPr>
      <a:lvl6pPr marL="1714459" algn="l" defTabSz="685783" rtl="0" eaLnBrk="1" latinLnBrk="0" hangingPunct="1">
        <a:defRPr sz="1350" kern="1200">
          <a:solidFill>
            <a:schemeClr val="tx1"/>
          </a:solidFill>
          <a:latin typeface="+mn-lt"/>
          <a:ea typeface="+mn-ea"/>
          <a:cs typeface="+mn-cs"/>
        </a:defRPr>
      </a:lvl6pPr>
      <a:lvl7pPr marL="2057351" algn="l" defTabSz="685783" rtl="0" eaLnBrk="1" latinLnBrk="0" hangingPunct="1">
        <a:defRPr sz="1350" kern="1200">
          <a:solidFill>
            <a:schemeClr val="tx1"/>
          </a:solidFill>
          <a:latin typeface="+mn-lt"/>
          <a:ea typeface="+mn-ea"/>
          <a:cs typeface="+mn-cs"/>
        </a:defRPr>
      </a:lvl7pPr>
      <a:lvl8pPr marL="2400243" algn="l" defTabSz="685783" rtl="0" eaLnBrk="1" latinLnBrk="0" hangingPunct="1">
        <a:defRPr sz="1350" kern="1200">
          <a:solidFill>
            <a:schemeClr val="tx1"/>
          </a:solidFill>
          <a:latin typeface="+mn-lt"/>
          <a:ea typeface="+mn-ea"/>
          <a:cs typeface="+mn-cs"/>
        </a:defRPr>
      </a:lvl8pPr>
      <a:lvl9pPr marL="2743135"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1" y="1520825"/>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0" name="Group 29">
            <a:extLst>
              <a:ext uri="{FF2B5EF4-FFF2-40B4-BE49-F238E27FC236}">
                <a16:creationId xmlns:a16="http://schemas.microsoft.com/office/drawing/2014/main" id="{BE94BDCA-2536-4B88-8AFF-EA9D29B02A90}"/>
              </a:ext>
            </a:extLst>
          </p:cNvPr>
          <p:cNvGrpSpPr/>
          <p:nvPr userDrawn="1"/>
        </p:nvGrpSpPr>
        <p:grpSpPr>
          <a:xfrm>
            <a:off x="12073965" y="-3096"/>
            <a:ext cx="127000" cy="6858000"/>
            <a:chOff x="12073965" y="-3096"/>
            <a:chExt cx="127000" cy="6096000"/>
          </a:xfrm>
        </p:grpSpPr>
        <p:sp>
          <p:nvSpPr>
            <p:cNvPr id="31" name="Freeform: Shape 30">
              <a:extLst>
                <a:ext uri="{FF2B5EF4-FFF2-40B4-BE49-F238E27FC236}">
                  <a16:creationId xmlns:a16="http://schemas.microsoft.com/office/drawing/2014/main" id="{4B2B01A8-CAAB-4518-BE09-E624D27BF02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32" name="Freeform: Shape 31">
              <a:extLst>
                <a:ext uri="{FF2B5EF4-FFF2-40B4-BE49-F238E27FC236}">
                  <a16:creationId xmlns:a16="http://schemas.microsoft.com/office/drawing/2014/main" id="{74C9E94D-1565-4686-817D-23CABE0CC11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3" name="Freeform: Shape 32">
              <a:extLst>
                <a:ext uri="{FF2B5EF4-FFF2-40B4-BE49-F238E27FC236}">
                  <a16:creationId xmlns:a16="http://schemas.microsoft.com/office/drawing/2014/main" id="{F3F77BBD-1B5B-40D7-B1E5-6219BFE27FE2}"/>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4" name="Freeform: Shape 33">
              <a:extLst>
                <a:ext uri="{FF2B5EF4-FFF2-40B4-BE49-F238E27FC236}">
                  <a16:creationId xmlns:a16="http://schemas.microsoft.com/office/drawing/2014/main" id="{7D3D6627-0EFC-4C39-8842-444911AE6E2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35" name="Freeform: Shape 34">
              <a:extLst>
                <a:ext uri="{FF2B5EF4-FFF2-40B4-BE49-F238E27FC236}">
                  <a16:creationId xmlns:a16="http://schemas.microsoft.com/office/drawing/2014/main" id="{1D130F3B-87FD-4758-AA23-7FBE6A43346C}"/>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36" name="Freeform: Shape 35">
              <a:extLst>
                <a:ext uri="{FF2B5EF4-FFF2-40B4-BE49-F238E27FC236}">
                  <a16:creationId xmlns:a16="http://schemas.microsoft.com/office/drawing/2014/main" id="{EA45E26C-FFD1-46EC-9E53-5CEC439ACAA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37" name="Freeform: Shape 36">
              <a:extLst>
                <a:ext uri="{FF2B5EF4-FFF2-40B4-BE49-F238E27FC236}">
                  <a16:creationId xmlns:a16="http://schemas.microsoft.com/office/drawing/2014/main" id="{A5A77EB6-9400-4B43-8D26-BBB55E581F4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8" name="Freeform: Shape 37">
              <a:extLst>
                <a:ext uri="{FF2B5EF4-FFF2-40B4-BE49-F238E27FC236}">
                  <a16:creationId xmlns:a16="http://schemas.microsoft.com/office/drawing/2014/main" id="{7BA377B7-8223-4995-8D1F-E841F6641D5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9" name="Freeform: Shape 38">
              <a:extLst>
                <a:ext uri="{FF2B5EF4-FFF2-40B4-BE49-F238E27FC236}">
                  <a16:creationId xmlns:a16="http://schemas.microsoft.com/office/drawing/2014/main" id="{1F5CB352-51F4-416E-9843-2FDA2CDCFFD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864049F1-6F28-4BD5-A3F9-787894119F0C}"/>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41" name="Freeform: Shape 40">
              <a:extLst>
                <a:ext uri="{FF2B5EF4-FFF2-40B4-BE49-F238E27FC236}">
                  <a16:creationId xmlns:a16="http://schemas.microsoft.com/office/drawing/2014/main" id="{DBB56152-1B05-4C86-A657-63322BDB6C9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42" name="Freeform: Shape 41">
              <a:extLst>
                <a:ext uri="{FF2B5EF4-FFF2-40B4-BE49-F238E27FC236}">
                  <a16:creationId xmlns:a16="http://schemas.microsoft.com/office/drawing/2014/main" id="{767AB39A-DEC1-4733-932D-7B4E520D21F2}"/>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43" name="Freeform: Shape 42">
              <a:extLst>
                <a:ext uri="{FF2B5EF4-FFF2-40B4-BE49-F238E27FC236}">
                  <a16:creationId xmlns:a16="http://schemas.microsoft.com/office/drawing/2014/main" id="{474560DA-5BC7-4BD1-B373-279BD363DCCB}"/>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44" name="Freeform: Shape 43">
              <a:extLst>
                <a:ext uri="{FF2B5EF4-FFF2-40B4-BE49-F238E27FC236}">
                  <a16:creationId xmlns:a16="http://schemas.microsoft.com/office/drawing/2014/main" id="{53DA5BCB-D097-4706-8AFE-10AEE639F80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45" name="Freeform: Shape 44">
              <a:extLst>
                <a:ext uri="{FF2B5EF4-FFF2-40B4-BE49-F238E27FC236}">
                  <a16:creationId xmlns:a16="http://schemas.microsoft.com/office/drawing/2014/main" id="{EF9B4E66-BB7A-45D0-80C0-4166893C05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46" name="Freeform: Shape 45">
              <a:extLst>
                <a:ext uri="{FF2B5EF4-FFF2-40B4-BE49-F238E27FC236}">
                  <a16:creationId xmlns:a16="http://schemas.microsoft.com/office/drawing/2014/main" id="{57875DD7-D580-4E36-BF61-772DB9CA027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274907628"/>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Lst>
  <p:txStyles>
    <p:titleStyle>
      <a:lvl1pPr algn="l" defTabSz="914400" rtl="0" eaLnBrk="1" latinLnBrk="0" hangingPunct="1">
        <a:lnSpc>
          <a:spcPct val="90000"/>
        </a:lnSpc>
        <a:spcBef>
          <a:spcPct val="0"/>
        </a:spcBef>
        <a:buNone/>
        <a:defRPr sz="3200" b="1" i="0" kern="1200" cap="none" baseline="0">
          <a:solidFill>
            <a:schemeClr val="tx2"/>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1pPr>
      <a:lvl2pPr marL="6858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842" y="134285"/>
            <a:ext cx="11337925" cy="452107"/>
          </a:xfrm>
        </p:spPr>
        <p:txBody>
          <a:bodyPr/>
          <a:lstStyle/>
          <a:p>
            <a:pPr algn="ctr"/>
            <a:r>
              <a:rPr lang="en-US" sz="2400" dirty="0"/>
              <a:t>Project Landscape : Improving insurance penetration in Africa </a:t>
            </a:r>
            <a:endParaRPr lang="en-US" sz="1200" dirty="0"/>
          </a:p>
        </p:txBody>
      </p:sp>
      <p:sp>
        <p:nvSpPr>
          <p:cNvPr id="10" name="TextBox 9">
            <a:extLst>
              <a:ext uri="{FF2B5EF4-FFF2-40B4-BE49-F238E27FC236}">
                <a16:creationId xmlns:a16="http://schemas.microsoft.com/office/drawing/2014/main" id="{E0AD6732-B37F-DB98-CCD3-BA4513C0A7C9}"/>
              </a:ext>
            </a:extLst>
          </p:cNvPr>
          <p:cNvSpPr txBox="1"/>
          <p:nvPr/>
        </p:nvSpPr>
        <p:spPr bwMode="gray">
          <a:xfrm>
            <a:off x="561296" y="586392"/>
            <a:ext cx="9978797" cy="5816977"/>
          </a:xfrm>
          <a:prstGeom prst="rect">
            <a:avLst/>
          </a:prstGeom>
          <a:noFill/>
        </p:spPr>
        <p:txBody>
          <a:bodyPr wrap="square">
            <a:spAutoFit/>
          </a:bodyPr>
          <a:lstStyle/>
          <a:p>
            <a:r>
              <a:rPr lang="en-US" sz="1200" b="1" i="0" dirty="0">
                <a:solidFill>
                  <a:srgbClr val="0D0D0D"/>
                </a:solidFill>
                <a:effectLst/>
                <a:highlight>
                  <a:srgbClr val="FFFFFF"/>
                </a:highlight>
                <a:latin typeface="Söhne"/>
              </a:rPr>
              <a:t>Problem Statement: </a:t>
            </a:r>
            <a:r>
              <a:rPr lang="en-US" sz="1200" dirty="0">
                <a:solidFill>
                  <a:srgbClr val="0D0D0D"/>
                </a:solidFill>
                <a:highlight>
                  <a:srgbClr val="FFFFFF"/>
                </a:highlight>
                <a:latin typeface="Söhne"/>
              </a:rPr>
              <a:t>The insurance industry in Africa is struggling due to low income and limited insurance coverage. To reach potential customers, it's crucial to identify those who might still want insurance, as many people lack jobs and cannot afford it.</a:t>
            </a:r>
          </a:p>
          <a:p>
            <a:endParaRPr lang="en-US" sz="1200" dirty="0"/>
          </a:p>
          <a:p>
            <a:r>
              <a:rPr lang="en-US" sz="1200" b="1" dirty="0">
                <a:solidFill>
                  <a:srgbClr val="D40031"/>
                </a:solidFill>
                <a:latin typeface="Expert Sans Regular"/>
                <a:ea typeface="+mj-ea"/>
              </a:rPr>
              <a:t>Key Challenges</a:t>
            </a:r>
            <a:r>
              <a:rPr lang="en-US" sz="1200" b="1" i="0" dirty="0">
                <a:solidFill>
                  <a:srgbClr val="0D0D0D"/>
                </a:solidFill>
                <a:effectLst/>
                <a:highlight>
                  <a:srgbClr val="FFFFFF"/>
                </a:highlight>
                <a:latin typeface="Söhne"/>
              </a:rPr>
              <a:t>: </a:t>
            </a:r>
            <a:r>
              <a:rPr lang="en-US" sz="1200" dirty="0">
                <a:solidFill>
                  <a:srgbClr val="0D0D0D"/>
                </a:solidFill>
                <a:highlight>
                  <a:srgbClr val="FFFFFF"/>
                </a:highlight>
                <a:latin typeface="Söhne"/>
              </a:rPr>
              <a:t>Insurance Knowledge, </a:t>
            </a:r>
            <a:r>
              <a:rPr lang="en-US" sz="1200" b="0" i="0" dirty="0">
                <a:solidFill>
                  <a:srgbClr val="0D0D0D"/>
                </a:solidFill>
                <a:effectLst/>
                <a:highlight>
                  <a:srgbClr val="FFFFFF"/>
                </a:highlight>
                <a:latin typeface="Söhne"/>
              </a:rPr>
              <a:t>Target Marketing, and affordability issues </a:t>
            </a:r>
            <a:r>
              <a:rPr lang="en-US" sz="1200" dirty="0">
                <a:solidFill>
                  <a:srgbClr val="0D0D0D"/>
                </a:solidFill>
                <a:highlight>
                  <a:srgbClr val="FFFFFF"/>
                </a:highlight>
                <a:latin typeface="Söhne"/>
              </a:rPr>
              <a:t>restricts potential customers from taking up the insurance</a:t>
            </a:r>
            <a:r>
              <a:rPr lang="en-US" sz="1200" b="0" i="0" dirty="0">
                <a:solidFill>
                  <a:srgbClr val="0D0D0D"/>
                </a:solidFill>
                <a:effectLst/>
                <a:highlight>
                  <a:srgbClr val="FFFFFF"/>
                </a:highlight>
                <a:latin typeface="Söhne"/>
              </a:rPr>
              <a:t>.</a:t>
            </a:r>
          </a:p>
          <a:p>
            <a:endParaRPr lang="en-US" sz="1200" b="1" i="0" dirty="0">
              <a:solidFill>
                <a:srgbClr val="0D0D0D"/>
              </a:solidFill>
              <a:effectLst/>
              <a:highlight>
                <a:srgbClr val="FFFFFF"/>
              </a:highlight>
              <a:latin typeface="Söhne"/>
            </a:endParaRPr>
          </a:p>
          <a:p>
            <a:pPr algn="l"/>
            <a:r>
              <a:rPr lang="en-US" sz="1200" b="1" dirty="0">
                <a:solidFill>
                  <a:srgbClr val="D40031"/>
                </a:solidFill>
                <a:latin typeface="Expert Sans Regular"/>
                <a:ea typeface="+mj-ea"/>
              </a:rPr>
              <a:t>Project Objectives</a:t>
            </a:r>
            <a:r>
              <a:rPr lang="en-US" sz="1200" b="1" i="0" dirty="0">
                <a:solidFill>
                  <a:srgbClr val="0D0D0D"/>
                </a:solidFill>
                <a:effectLst/>
                <a:highlight>
                  <a:srgbClr val="FFFFFF"/>
                </a:highlight>
                <a:latin typeface="Söhne"/>
              </a:rPr>
              <a:t>:</a:t>
            </a:r>
            <a:endParaRPr lang="en-US" sz="1200" b="0" i="0" dirty="0">
              <a:solidFill>
                <a:srgbClr val="0D0D0D"/>
              </a:solidFill>
              <a:effectLst/>
              <a:highlight>
                <a:srgbClr val="FFFFFF"/>
              </a:highlight>
              <a:latin typeface="Söhne"/>
            </a:endParaRPr>
          </a:p>
          <a:p>
            <a:pPr algn="l">
              <a:buFont typeface="+mj-lt"/>
              <a:buAutoNum type="arabicPeriod"/>
            </a:pPr>
            <a:r>
              <a:rPr lang="en-US" sz="1200" i="0" dirty="0">
                <a:solidFill>
                  <a:srgbClr val="0D0D0D"/>
                </a:solidFill>
                <a:effectLst/>
                <a:highlight>
                  <a:srgbClr val="FFFFFF"/>
                </a:highlight>
                <a:latin typeface="Söhne"/>
              </a:rPr>
              <a:t>Identifying Target Demographics: Research to understand potential insurance buyers and their needs.</a:t>
            </a:r>
          </a:p>
          <a:p>
            <a:pPr algn="l">
              <a:buFont typeface="+mj-lt"/>
              <a:buAutoNum type="arabicPeriod"/>
            </a:pPr>
            <a:r>
              <a:rPr lang="en-US" sz="1200" i="0" dirty="0">
                <a:solidFill>
                  <a:srgbClr val="0D0D0D"/>
                </a:solidFill>
                <a:effectLst/>
                <a:highlight>
                  <a:srgbClr val="FFFFFF"/>
                </a:highlight>
                <a:latin typeface="Söhne"/>
              </a:rPr>
              <a:t>Improving Product Accessibility: Innovate strategies for affordability and accessibility.</a:t>
            </a:r>
          </a:p>
          <a:p>
            <a:pPr algn="l">
              <a:buFont typeface="+mj-lt"/>
              <a:buAutoNum type="arabicPeriod"/>
            </a:pPr>
            <a:r>
              <a:rPr lang="en-US" sz="1200" i="0" dirty="0">
                <a:solidFill>
                  <a:srgbClr val="0D0D0D"/>
                </a:solidFill>
                <a:effectLst/>
                <a:highlight>
                  <a:srgbClr val="FFFFFF"/>
                </a:highlight>
                <a:latin typeface="Söhne"/>
              </a:rPr>
              <a:t>Educational Campaigns: Raise awareness </a:t>
            </a:r>
            <a:r>
              <a:rPr lang="en-US" sz="1200" b="0" i="0" dirty="0">
                <a:solidFill>
                  <a:srgbClr val="0D0D0D"/>
                </a:solidFill>
                <a:effectLst/>
                <a:highlight>
                  <a:srgbClr val="FFFFFF"/>
                </a:highlight>
                <a:latin typeface="Söhne"/>
              </a:rPr>
              <a:t>and dispel misconceptions about insurance.</a:t>
            </a:r>
          </a:p>
          <a:p>
            <a:endParaRPr lang="en-US" sz="1200" dirty="0"/>
          </a:p>
          <a:p>
            <a:r>
              <a:rPr lang="en-US" sz="1200" b="1" dirty="0">
                <a:solidFill>
                  <a:srgbClr val="D40031"/>
                </a:solidFill>
                <a:latin typeface="Expert Sans Regular"/>
                <a:ea typeface="+mj-ea"/>
              </a:rPr>
              <a:t>Data Management:</a:t>
            </a:r>
          </a:p>
          <a:p>
            <a:pPr algn="l">
              <a:buFont typeface="Arial" panose="020B0604020202020204" pitchFamily="34" charset="0"/>
              <a:buChar char="•"/>
            </a:pPr>
            <a:r>
              <a:rPr lang="en-US" sz="1200" i="0" dirty="0">
                <a:solidFill>
                  <a:srgbClr val="0D0D0D"/>
                </a:solidFill>
                <a:effectLst/>
                <a:highlight>
                  <a:srgbClr val="FFFFFF"/>
                </a:highlight>
                <a:latin typeface="Söhne"/>
              </a:rPr>
              <a:t>Data Ownership: Project team and stakeholders own data.</a:t>
            </a:r>
          </a:p>
          <a:p>
            <a:pPr algn="l">
              <a:buFont typeface="Arial" panose="020B0604020202020204" pitchFamily="34" charset="0"/>
              <a:buChar char="•"/>
            </a:pPr>
            <a:r>
              <a:rPr lang="en-US" sz="1200" i="0" dirty="0">
                <a:solidFill>
                  <a:srgbClr val="0D0D0D"/>
                </a:solidFill>
                <a:effectLst/>
                <a:highlight>
                  <a:srgbClr val="FFFFFF"/>
                </a:highlight>
                <a:latin typeface="Söhne"/>
              </a:rPr>
              <a:t>Data Storage: Data is stored in </a:t>
            </a:r>
            <a:r>
              <a:rPr lang="en-US" sz="1200" i="0" dirty="0" err="1">
                <a:solidFill>
                  <a:srgbClr val="0D0D0D"/>
                </a:solidFill>
                <a:effectLst/>
                <a:highlight>
                  <a:srgbClr val="FFFFFF"/>
                </a:highlight>
                <a:latin typeface="Söhne"/>
              </a:rPr>
              <a:t>Github</a:t>
            </a:r>
            <a:endParaRPr lang="en-US" sz="1200" i="0" dirty="0">
              <a:solidFill>
                <a:srgbClr val="0D0D0D"/>
              </a:solidFill>
              <a:effectLst/>
              <a:highlight>
                <a:srgbClr val="FFFFFF"/>
              </a:highlight>
              <a:latin typeface="Söhne"/>
            </a:endParaRPr>
          </a:p>
          <a:p>
            <a:pPr algn="l">
              <a:buFont typeface="Arial" panose="020B0604020202020204" pitchFamily="34" charset="0"/>
              <a:buChar char="•"/>
            </a:pPr>
            <a:r>
              <a:rPr lang="en-US" sz="1200" i="0" dirty="0">
                <a:solidFill>
                  <a:srgbClr val="0D0D0D"/>
                </a:solidFill>
                <a:effectLst/>
                <a:highlight>
                  <a:srgbClr val="FFFFFF"/>
                </a:highlight>
                <a:latin typeface="Söhne"/>
              </a:rPr>
              <a:t>Data Format: CSV format stored in </a:t>
            </a:r>
            <a:r>
              <a:rPr lang="en-US" sz="1200" i="0" dirty="0" err="1">
                <a:solidFill>
                  <a:srgbClr val="0D0D0D"/>
                </a:solidFill>
                <a:effectLst/>
                <a:highlight>
                  <a:srgbClr val="FFFFFF"/>
                </a:highlight>
                <a:latin typeface="Söhne"/>
              </a:rPr>
              <a:t>Github</a:t>
            </a:r>
            <a:endParaRPr lang="en-US" sz="1200" i="0" dirty="0">
              <a:solidFill>
                <a:srgbClr val="0D0D0D"/>
              </a:solidFill>
              <a:effectLst/>
              <a:highlight>
                <a:srgbClr val="FFFFFF"/>
              </a:highlight>
              <a:latin typeface="Söhne"/>
            </a:endParaRPr>
          </a:p>
          <a:p>
            <a:pPr algn="l">
              <a:buFont typeface="Arial" panose="020B0604020202020204" pitchFamily="34" charset="0"/>
              <a:buChar char="•"/>
            </a:pPr>
            <a:r>
              <a:rPr lang="en-US" sz="1200" i="0" dirty="0">
                <a:solidFill>
                  <a:srgbClr val="0D0D0D"/>
                </a:solidFill>
                <a:effectLst/>
                <a:highlight>
                  <a:srgbClr val="FFFFFF"/>
                </a:highlight>
                <a:latin typeface="Söhne"/>
              </a:rPr>
              <a:t>Data Gathering and Updating: </a:t>
            </a:r>
            <a:r>
              <a:rPr lang="en-US" sz="1200" dirty="0">
                <a:solidFill>
                  <a:srgbClr val="0D0D0D"/>
                </a:solidFill>
                <a:highlight>
                  <a:srgbClr val="FFFFFF"/>
                </a:highlight>
                <a:latin typeface="Söhne"/>
              </a:rPr>
              <a:t>S</a:t>
            </a:r>
            <a:r>
              <a:rPr lang="en-US" sz="1200" b="0" i="0" dirty="0">
                <a:solidFill>
                  <a:srgbClr val="0D0D0D"/>
                </a:solidFill>
                <a:effectLst/>
                <a:highlight>
                  <a:srgbClr val="FFFFFF"/>
                </a:highlight>
                <a:latin typeface="Söhne"/>
              </a:rPr>
              <a:t>econdary data and sourced from </a:t>
            </a:r>
            <a:r>
              <a:rPr lang="en-US" sz="1200" b="0" i="0" dirty="0" err="1">
                <a:solidFill>
                  <a:srgbClr val="0D0D0D"/>
                </a:solidFill>
                <a:effectLst/>
                <a:highlight>
                  <a:srgbClr val="FFFFFF"/>
                </a:highlight>
                <a:latin typeface="Söhne"/>
              </a:rPr>
              <a:t>Github</a:t>
            </a:r>
            <a:endParaRPr lang="en-US" sz="1200" b="0" i="0" dirty="0">
              <a:solidFill>
                <a:srgbClr val="0D0D0D"/>
              </a:solidFill>
              <a:effectLst/>
              <a:highlight>
                <a:srgbClr val="FFFFFF"/>
              </a:highlight>
              <a:latin typeface="Söhne"/>
            </a:endParaRPr>
          </a:p>
          <a:p>
            <a:pPr algn="l"/>
            <a:endParaRPr lang="en-US" sz="1200" b="0" i="0" dirty="0">
              <a:solidFill>
                <a:srgbClr val="0D0D0D"/>
              </a:solidFill>
              <a:effectLst/>
              <a:highlight>
                <a:srgbClr val="FFFFFF"/>
              </a:highlight>
              <a:latin typeface="Söhne"/>
            </a:endParaRPr>
          </a:p>
          <a:p>
            <a:pPr algn="l"/>
            <a:r>
              <a:rPr lang="en-US" sz="1200" b="1" dirty="0">
                <a:solidFill>
                  <a:srgbClr val="D40031"/>
                </a:solidFill>
                <a:latin typeface="Expert Sans Regular"/>
                <a:ea typeface="+mj-ea"/>
              </a:rPr>
              <a:t>Information and Knowledge</a:t>
            </a:r>
          </a:p>
          <a:p>
            <a:pPr algn="l"/>
            <a:endParaRPr lang="en-US" sz="1200" b="1" i="0" dirty="0">
              <a:solidFill>
                <a:srgbClr val="0D0D0D"/>
              </a:solidFill>
              <a:effectLst/>
              <a:highlight>
                <a:srgbClr val="FFFFFF"/>
              </a:highlight>
              <a:latin typeface="Söhne"/>
            </a:endParaRPr>
          </a:p>
          <a:p>
            <a:pPr algn="l"/>
            <a:r>
              <a:rPr lang="en-US" sz="1200" b="1" i="0" dirty="0">
                <a:solidFill>
                  <a:srgbClr val="0D0D0D"/>
                </a:solidFill>
                <a:effectLst/>
                <a:highlight>
                  <a:srgbClr val="FFFFFF"/>
                </a:highlight>
                <a:latin typeface="Söhne"/>
              </a:rPr>
              <a:t>Feature Engineering: Performed on </a:t>
            </a:r>
            <a:r>
              <a:rPr lang="en-US" sz="1200" b="1" i="0" dirty="0" err="1">
                <a:solidFill>
                  <a:srgbClr val="0D0D0D"/>
                </a:solidFill>
                <a:effectLst/>
                <a:highlight>
                  <a:srgbClr val="FFFFFF"/>
                </a:highlight>
                <a:latin typeface="Söhne"/>
              </a:rPr>
              <a:t>Jupyter</a:t>
            </a:r>
            <a:r>
              <a:rPr lang="en-US" sz="1200" b="1" i="0" dirty="0">
                <a:solidFill>
                  <a:srgbClr val="0D0D0D"/>
                </a:solidFill>
                <a:effectLst/>
                <a:highlight>
                  <a:srgbClr val="FFFFFF"/>
                </a:highlight>
                <a:latin typeface="Söhne"/>
              </a:rPr>
              <a:t> Notebook, </a:t>
            </a:r>
            <a:r>
              <a:rPr lang="en-US" sz="1200" b="1" i="0" dirty="0" err="1">
                <a:solidFill>
                  <a:srgbClr val="0D0D0D"/>
                </a:solidFill>
                <a:effectLst/>
                <a:highlight>
                  <a:srgbClr val="FFFFFF"/>
                </a:highlight>
                <a:latin typeface="Söhne"/>
              </a:rPr>
              <a:t>PowerBI</a:t>
            </a:r>
            <a:r>
              <a:rPr lang="en-US" sz="1200" b="1" i="0" dirty="0">
                <a:solidFill>
                  <a:srgbClr val="0D0D0D"/>
                </a:solidFill>
                <a:effectLst/>
                <a:highlight>
                  <a:srgbClr val="FFFFFF"/>
                </a:highlight>
                <a:latin typeface="Söhne"/>
              </a:rPr>
              <a:t> and </a:t>
            </a:r>
            <a:r>
              <a:rPr lang="en-US" sz="1200" b="1" i="0" dirty="0" err="1">
                <a:solidFill>
                  <a:srgbClr val="0D0D0D"/>
                </a:solidFill>
                <a:effectLst/>
                <a:highlight>
                  <a:srgbClr val="FFFFFF"/>
                </a:highlight>
                <a:latin typeface="Söhne"/>
              </a:rPr>
              <a:t>Googlecollab</a:t>
            </a:r>
            <a:endParaRPr lang="en-US" sz="1200" b="0" i="0" dirty="0">
              <a:solidFill>
                <a:srgbClr val="0D0D0D"/>
              </a:solidFill>
              <a:effectLst/>
              <a:highlight>
                <a:srgbClr val="FFFFFF"/>
              </a:highlight>
              <a:latin typeface="Söhne"/>
            </a:endParaRPr>
          </a:p>
          <a:p>
            <a:pPr algn="l">
              <a:buFont typeface="Arial" panose="020B0604020202020204" pitchFamily="34" charset="0"/>
              <a:buChar char="•"/>
            </a:pPr>
            <a:r>
              <a:rPr lang="en-US" sz="1200" b="0" i="0" dirty="0">
                <a:solidFill>
                  <a:srgbClr val="0D0D0D"/>
                </a:solidFill>
                <a:effectLst/>
                <a:highlight>
                  <a:srgbClr val="FFFFFF"/>
                </a:highlight>
                <a:latin typeface="Söhne"/>
              </a:rPr>
              <a:t>Transform raw data into meaningful features.</a:t>
            </a:r>
          </a:p>
          <a:p>
            <a:pPr algn="l">
              <a:buFont typeface="Arial" panose="020B0604020202020204" pitchFamily="34" charset="0"/>
              <a:buChar char="•"/>
            </a:pPr>
            <a:r>
              <a:rPr lang="en-US" sz="1200" b="0" i="0" dirty="0">
                <a:solidFill>
                  <a:srgbClr val="0D0D0D"/>
                </a:solidFill>
                <a:effectLst/>
                <a:highlight>
                  <a:srgbClr val="FFFFFF"/>
                </a:highlight>
                <a:latin typeface="Söhne"/>
              </a:rPr>
              <a:t>Tasks include scaling, normalization, encoding, and feature selection.</a:t>
            </a:r>
          </a:p>
          <a:p>
            <a:pPr algn="l"/>
            <a:r>
              <a:rPr lang="en-US" sz="1200" b="1" i="0" dirty="0">
                <a:solidFill>
                  <a:srgbClr val="0D0D0D"/>
                </a:solidFill>
                <a:effectLst/>
                <a:highlight>
                  <a:srgbClr val="FFFFFF"/>
                </a:highlight>
                <a:latin typeface="Söhne"/>
              </a:rPr>
              <a:t>Data Science Approach:</a:t>
            </a:r>
            <a:endParaRPr lang="en-US" sz="1200" b="0" i="0" dirty="0">
              <a:solidFill>
                <a:srgbClr val="0D0D0D"/>
              </a:solidFill>
              <a:effectLst/>
              <a:highlight>
                <a:srgbClr val="FFFFFF"/>
              </a:highlight>
              <a:latin typeface="Söhne"/>
            </a:endParaRPr>
          </a:p>
          <a:p>
            <a:pPr algn="l">
              <a:buFont typeface="Arial" panose="020B0604020202020204" pitchFamily="34" charset="0"/>
              <a:buChar char="•"/>
            </a:pPr>
            <a:r>
              <a:rPr lang="en-US" sz="1200" b="0" i="0" dirty="0">
                <a:solidFill>
                  <a:srgbClr val="0D0D0D"/>
                </a:solidFill>
                <a:effectLst/>
                <a:highlight>
                  <a:srgbClr val="FFFFFF"/>
                </a:highlight>
                <a:latin typeface="Söhne"/>
              </a:rPr>
              <a:t>practical for resolving complex socioeconomic issues. </a:t>
            </a:r>
            <a:br>
              <a:rPr lang="en-US" sz="1200" b="0" i="0" dirty="0">
                <a:solidFill>
                  <a:srgbClr val="0D0D0D"/>
                </a:solidFill>
                <a:effectLst/>
                <a:highlight>
                  <a:srgbClr val="FFFFFF"/>
                </a:highlight>
                <a:latin typeface="Söhne"/>
              </a:rPr>
            </a:br>
            <a:r>
              <a:rPr lang="en-US" sz="1200" b="0" i="0" dirty="0">
                <a:solidFill>
                  <a:srgbClr val="0D0D0D"/>
                </a:solidFill>
                <a:effectLst/>
                <a:highlight>
                  <a:srgbClr val="FFFFFF"/>
                </a:highlight>
                <a:latin typeface="Söhne"/>
              </a:rPr>
              <a:t>Previous works made use of segmentation analysis and predictive modeling</a:t>
            </a:r>
          </a:p>
          <a:p>
            <a:pPr algn="l"/>
            <a:r>
              <a:rPr lang="en-US" sz="1200" b="1" i="0" dirty="0">
                <a:solidFill>
                  <a:srgbClr val="0D0D0D"/>
                </a:solidFill>
                <a:effectLst/>
                <a:highlight>
                  <a:srgbClr val="FFFFFF"/>
                </a:highlight>
                <a:latin typeface="Söhne"/>
              </a:rPr>
              <a:t>Knowledge and Expertise:</a:t>
            </a:r>
            <a:endParaRPr lang="en-US" sz="1200" b="0" i="0" dirty="0">
              <a:solidFill>
                <a:srgbClr val="0D0D0D"/>
              </a:solidFill>
              <a:effectLst/>
              <a:highlight>
                <a:srgbClr val="FFFFFF"/>
              </a:highlight>
              <a:latin typeface="Söhne"/>
            </a:endParaRPr>
          </a:p>
          <a:p>
            <a:pPr algn="l">
              <a:buFont typeface="Arial" panose="020B0604020202020204" pitchFamily="34" charset="0"/>
              <a:buChar char="•"/>
            </a:pPr>
            <a:r>
              <a:rPr lang="en-US" sz="1200" b="0" i="0" dirty="0">
                <a:solidFill>
                  <a:srgbClr val="0D0D0D"/>
                </a:solidFill>
                <a:effectLst/>
                <a:highlight>
                  <a:srgbClr val="FFFFFF"/>
                </a:highlight>
                <a:latin typeface="Söhne"/>
              </a:rPr>
              <a:t>Tailored approaches for the unique African insurance market.</a:t>
            </a:r>
          </a:p>
          <a:p>
            <a:pPr algn="l">
              <a:buFont typeface="Arial" panose="020B0604020202020204" pitchFamily="34" charset="0"/>
              <a:buChar char="•"/>
            </a:pPr>
            <a:r>
              <a:rPr lang="en-US" sz="1200" b="0" i="0" dirty="0">
                <a:solidFill>
                  <a:srgbClr val="0D0D0D"/>
                </a:solidFill>
                <a:effectLst/>
                <a:highlight>
                  <a:srgbClr val="FFFFFF"/>
                </a:highlight>
                <a:latin typeface="Söhne"/>
              </a:rPr>
              <a:t>Includes subject matter experts and expertise in data science.</a:t>
            </a:r>
          </a:p>
          <a:p>
            <a:pPr algn="l"/>
            <a:r>
              <a:rPr lang="en-US" sz="1200" b="1" i="0" dirty="0">
                <a:solidFill>
                  <a:srgbClr val="0D0D0D"/>
                </a:solidFill>
                <a:effectLst/>
                <a:highlight>
                  <a:srgbClr val="FFFFFF"/>
                </a:highlight>
                <a:latin typeface="Söhne"/>
              </a:rPr>
              <a:t>Tech Stack and Experience:</a:t>
            </a:r>
            <a:endParaRPr lang="en-US" sz="1200" b="0" i="0" dirty="0">
              <a:solidFill>
                <a:srgbClr val="0D0D0D"/>
              </a:solidFill>
              <a:effectLst/>
              <a:highlight>
                <a:srgbClr val="FFFFFF"/>
              </a:highlight>
              <a:latin typeface="Söhne"/>
            </a:endParaRPr>
          </a:p>
          <a:p>
            <a:pPr algn="l">
              <a:buFont typeface="Arial" panose="020B0604020202020204" pitchFamily="34" charset="0"/>
              <a:buChar char="•"/>
            </a:pPr>
            <a:r>
              <a:rPr lang="en-US" sz="1200" b="0" i="0" dirty="0">
                <a:solidFill>
                  <a:srgbClr val="0D0D0D"/>
                </a:solidFill>
                <a:effectLst/>
                <a:highlight>
                  <a:srgbClr val="FFFFFF"/>
                </a:highlight>
                <a:latin typeface="Söhne"/>
              </a:rPr>
              <a:t>Leveraging expertise in data analytics and technologies.</a:t>
            </a:r>
          </a:p>
          <a:p>
            <a:pPr algn="l">
              <a:buFont typeface="Arial" panose="020B0604020202020204" pitchFamily="34" charset="0"/>
              <a:buChar char="•"/>
            </a:pPr>
            <a:r>
              <a:rPr lang="en-US" sz="1200" b="0" i="0" dirty="0">
                <a:solidFill>
                  <a:srgbClr val="0D0D0D"/>
                </a:solidFill>
                <a:effectLst/>
                <a:highlight>
                  <a:srgbClr val="FFFFFF"/>
                </a:highlight>
                <a:latin typeface="Söhne"/>
              </a:rPr>
              <a:t>Robust tech stack for analysis, visualization, and insights derivation.</a:t>
            </a:r>
          </a:p>
          <a:p>
            <a:pPr algn="l"/>
            <a:endParaRPr lang="en-US" sz="1200" b="0" i="0" dirty="0">
              <a:solidFill>
                <a:srgbClr val="0D0D0D"/>
              </a:solidFill>
              <a:effectLst/>
              <a:highlight>
                <a:srgbClr val="FFFFFF"/>
              </a:highlight>
              <a:latin typeface="Söhne"/>
            </a:endParaRPr>
          </a:p>
        </p:txBody>
      </p:sp>
    </p:spTree>
    <p:extLst>
      <p:ext uri="{BB962C8B-B14F-4D97-AF65-F5344CB8AC3E}">
        <p14:creationId xmlns:p14="http://schemas.microsoft.com/office/powerpoint/2010/main" val="1880919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1PrgDS8_CeBffFjegia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1PrgDS8_CeBffFjegiaKw"/>
</p:tagLst>
</file>

<file path=ppt/theme/theme1.xml><?xml version="1.0" encoding="utf-8"?>
<a:theme xmlns:a="http://schemas.openxmlformats.org/drawingml/2006/main" name="Theme1 ppt">
  <a:themeElements>
    <a:clrScheme name="absa">
      <a:dk1>
        <a:srgbClr val="4D4D4D"/>
      </a:dk1>
      <a:lt1>
        <a:srgbClr val="FFFFFF"/>
      </a:lt1>
      <a:dk2>
        <a:srgbClr val="4D4D4D"/>
      </a:dk2>
      <a:lt2>
        <a:srgbClr val="FFFFFF"/>
      </a:lt2>
      <a:accent1>
        <a:srgbClr val="DC0032"/>
      </a:accent1>
      <a:accent2>
        <a:srgbClr val="FF780F"/>
      </a:accent2>
      <a:accent3>
        <a:srgbClr val="F52D28"/>
      </a:accent3>
      <a:accent4>
        <a:srgbClr val="F05A78"/>
      </a:accent4>
      <a:accent5>
        <a:srgbClr val="870A3C"/>
      </a:accent5>
      <a:accent6>
        <a:srgbClr val="500A28"/>
      </a:accent6>
      <a:hlink>
        <a:srgbClr val="DC0032"/>
      </a:hlink>
      <a:folHlink>
        <a:srgbClr val="4D4D4D"/>
      </a:folHlink>
    </a:clrScheme>
    <a:fontScheme name="Custom 98">
      <a:majorFont>
        <a:latin typeface="Brave Sans Medium"/>
        <a:ea typeface=""/>
        <a:cs typeface=""/>
      </a:majorFont>
      <a:minorFont>
        <a:latin typeface="Brav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FFFFF"/>
    </a:custClr>
    <a:custClr>
      <a:srgbClr val="736464"/>
    </a:custClr>
    <a:custClr>
      <a:srgbClr val="5A4B4B"/>
    </a:custClr>
    <a:custClr>
      <a:srgbClr val="2D2323"/>
    </a:custClr>
    <a:custClr>
      <a:srgbClr val="000000"/>
    </a:custClr>
    <a:custClr>
      <a:srgbClr val="FF780F"/>
    </a:custClr>
    <a:custClr>
      <a:srgbClr val="FA551E"/>
    </a:custClr>
    <a:custClr>
      <a:srgbClr val="F52D28"/>
    </a:custClr>
    <a:custClr>
      <a:srgbClr val="BE0028"/>
    </a:custClr>
    <a:custClr>
      <a:srgbClr val="960528"/>
    </a:custClr>
    <a:custClr>
      <a:srgbClr val="AA052D"/>
    </a:custClr>
    <a:custClr>
      <a:srgbClr val="F05A78"/>
    </a:custClr>
    <a:custClr>
      <a:srgbClr val="F0325A"/>
    </a:custClr>
    <a:custClr>
      <a:srgbClr val="AF144B"/>
    </a:custClr>
    <a:custClr>
      <a:srgbClr val="870A3C"/>
    </a:custClr>
    <a:custClr>
      <a:srgbClr val="640032"/>
    </a:custClr>
    <a:custClr>
      <a:srgbClr val="500A28"/>
    </a:custClr>
    <a:custClr>
      <a:srgbClr val="FFFFFF"/>
    </a:custClr>
    <a:custClr>
      <a:srgbClr val="FFFFFF"/>
    </a:custClr>
    <a:custClr>
      <a:srgbClr val="DC0032"/>
    </a:custClr>
    <a:custClr>
      <a:srgbClr val="FF780F"/>
    </a:custClr>
    <a:custClr>
      <a:srgbClr val="72A309"/>
    </a:custClr>
  </a:custClrLst>
  <a:extLst>
    <a:ext uri="{05A4C25C-085E-4340-85A3-A5531E510DB2}">
      <thm15:themeFamily xmlns:thm15="http://schemas.microsoft.com/office/thememl/2012/main" name="Theme1 ppt" id="{A5F9CA59-2657-44B4-ADBA-A94D2FF69E88}" vid="{2058DE8E-8733-4277-88FD-EC18AFA69BAE}"/>
    </a:ext>
  </a:extLst>
</a:theme>
</file>

<file path=ppt/theme/theme2.xml><?xml version="1.0" encoding="utf-8"?>
<a:theme xmlns:a="http://schemas.openxmlformats.org/drawingml/2006/main" name="1_TITLE SLIDES">
  <a:themeElements>
    <a:clrScheme name="absa">
      <a:dk1>
        <a:srgbClr val="4D4D4D"/>
      </a:dk1>
      <a:lt1>
        <a:srgbClr val="FFFFFF"/>
      </a:lt1>
      <a:dk2>
        <a:srgbClr val="4D4D4D"/>
      </a:dk2>
      <a:lt2>
        <a:srgbClr val="FFFFFF"/>
      </a:lt2>
      <a:accent1>
        <a:srgbClr val="DC0032"/>
      </a:accent1>
      <a:accent2>
        <a:srgbClr val="FF780F"/>
      </a:accent2>
      <a:accent3>
        <a:srgbClr val="500A28"/>
      </a:accent3>
      <a:accent4>
        <a:srgbClr val="F05A78"/>
      </a:accent4>
      <a:accent5>
        <a:srgbClr val="870A3C"/>
      </a:accent5>
      <a:accent6>
        <a:srgbClr val="F52D28"/>
      </a:accent6>
      <a:hlink>
        <a:srgbClr val="DC0032"/>
      </a:hlink>
      <a:folHlink>
        <a:srgbClr val="4D4D4D"/>
      </a:folHlink>
    </a:clrScheme>
    <a:fontScheme name="Custom 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47721"/>
    </a:custClr>
    <a:custClr>
      <a:srgbClr val="500A28"/>
    </a:custClr>
    <a:custClr>
      <a:srgbClr val="F05A78"/>
    </a:custClr>
    <a:custClr>
      <a:srgbClr val="870A3C"/>
    </a:custClr>
    <a:custClr>
      <a:srgbClr val="F52D28"/>
    </a:custClr>
    <a:custClr>
      <a:srgbClr val="5A4B4B"/>
    </a:custClr>
    <a:custClr>
      <a:srgbClr val="F15726"/>
    </a:custClr>
    <a:custClr>
      <a:srgbClr val="AF144B"/>
    </a:custClr>
    <a:custClr>
      <a:srgbClr val="2D2323"/>
    </a:custClr>
    <a:custClr>
      <a:srgbClr val="BE0028"/>
    </a:custClr>
    <a:custClr>
      <a:srgbClr val="F0325A"/>
    </a:custClr>
    <a:custClr>
      <a:srgbClr val="640032"/>
    </a:custClr>
    <a:custClr>
      <a:srgbClr val="960528"/>
    </a:custClr>
    <a:custClr>
      <a:srgbClr val="2D2323"/>
    </a:custClr>
    <a:custClr>
      <a:srgbClr val="736464"/>
    </a:custClr>
    <a:custClr>
      <a:srgbClr val="4D4D4D"/>
    </a:custClr>
    <a:custClr>
      <a:srgbClr val="DC0032"/>
    </a:custClr>
    <a:custClr>
      <a:srgbClr val="F47721"/>
    </a:custClr>
    <a:custClr>
      <a:srgbClr val="72A309"/>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62AA"/>
    </a:custClr>
    <a:custClr>
      <a:srgbClr val="008864"/>
    </a:custClr>
    <a:custClr>
      <a:srgbClr val="698BBD"/>
    </a:custClr>
    <a:custClr>
      <a:srgbClr val="77368A"/>
    </a:custClr>
    <a:custClr>
      <a:srgbClr val="0E9E9E"/>
    </a:custClr>
    <a:custClr>
      <a:srgbClr val="00154D"/>
    </a:custClr>
    <a:custClr>
      <a:srgbClr val="4A2767"/>
    </a:custClr>
    <a:custClr>
      <a:srgbClr val="BB8C61"/>
    </a:custClr>
    <a:custClr>
      <a:srgbClr val="006241"/>
    </a:custClr>
    <a:custClr>
      <a:srgbClr val="015083"/>
    </a:custClr>
  </a:custClrLst>
</a:theme>
</file>

<file path=ppt/theme/theme3.xml><?xml version="1.0" encoding="utf-8"?>
<a:theme xmlns:a="http://schemas.openxmlformats.org/drawingml/2006/main" name="1_Theme1 ppt">
  <a:themeElements>
    <a:clrScheme name="absa">
      <a:dk1>
        <a:srgbClr val="4D4D4D"/>
      </a:dk1>
      <a:lt1>
        <a:srgbClr val="FFFFFF"/>
      </a:lt1>
      <a:dk2>
        <a:srgbClr val="4D4D4D"/>
      </a:dk2>
      <a:lt2>
        <a:srgbClr val="FFFFFF"/>
      </a:lt2>
      <a:accent1>
        <a:srgbClr val="DC0032"/>
      </a:accent1>
      <a:accent2>
        <a:srgbClr val="FF780F"/>
      </a:accent2>
      <a:accent3>
        <a:srgbClr val="F52D28"/>
      </a:accent3>
      <a:accent4>
        <a:srgbClr val="F05A78"/>
      </a:accent4>
      <a:accent5>
        <a:srgbClr val="870A3C"/>
      </a:accent5>
      <a:accent6>
        <a:srgbClr val="500A28"/>
      </a:accent6>
      <a:hlink>
        <a:srgbClr val="DC0032"/>
      </a:hlink>
      <a:folHlink>
        <a:srgbClr val="4D4D4D"/>
      </a:folHlink>
    </a:clrScheme>
    <a:fontScheme name="Custom 98">
      <a:majorFont>
        <a:latin typeface="Brave Sans Medium"/>
        <a:ea typeface=""/>
        <a:cs typeface=""/>
      </a:majorFont>
      <a:minorFont>
        <a:latin typeface="Brav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FFFFF"/>
    </a:custClr>
    <a:custClr>
      <a:srgbClr val="736464"/>
    </a:custClr>
    <a:custClr>
      <a:srgbClr val="5A4B4B"/>
    </a:custClr>
    <a:custClr>
      <a:srgbClr val="2D2323"/>
    </a:custClr>
    <a:custClr>
      <a:srgbClr val="000000"/>
    </a:custClr>
    <a:custClr>
      <a:srgbClr val="FF780F"/>
    </a:custClr>
    <a:custClr>
      <a:srgbClr val="FA551E"/>
    </a:custClr>
    <a:custClr>
      <a:srgbClr val="F52D28"/>
    </a:custClr>
    <a:custClr>
      <a:srgbClr val="BE0028"/>
    </a:custClr>
    <a:custClr>
      <a:srgbClr val="960528"/>
    </a:custClr>
    <a:custClr>
      <a:srgbClr val="AA052D"/>
    </a:custClr>
    <a:custClr>
      <a:srgbClr val="F05A78"/>
    </a:custClr>
    <a:custClr>
      <a:srgbClr val="F0325A"/>
    </a:custClr>
    <a:custClr>
      <a:srgbClr val="AF144B"/>
    </a:custClr>
    <a:custClr>
      <a:srgbClr val="870A3C"/>
    </a:custClr>
    <a:custClr>
      <a:srgbClr val="640032"/>
    </a:custClr>
    <a:custClr>
      <a:srgbClr val="500A28"/>
    </a:custClr>
    <a:custClr>
      <a:srgbClr val="FFFFFF"/>
    </a:custClr>
    <a:custClr>
      <a:srgbClr val="FFFFFF"/>
    </a:custClr>
    <a:custClr>
      <a:srgbClr val="DC0032"/>
    </a:custClr>
    <a:custClr>
      <a:srgbClr val="FF780F"/>
    </a:custClr>
    <a:custClr>
      <a:srgbClr val="72A309"/>
    </a:custClr>
  </a:custClrLst>
  <a:extLst>
    <a:ext uri="{05A4C25C-085E-4340-85A3-A5531E510DB2}">
      <thm15:themeFamily xmlns:thm15="http://schemas.microsoft.com/office/thememl/2012/main" name="Theme1 ppt" id="{A5F9CA59-2657-44B4-ADBA-A94D2FF69E88}" vid="{2058DE8E-8733-4277-88FD-EC18AFA69BAE}"/>
    </a:ext>
  </a:extLst>
</a:theme>
</file>

<file path=ppt/theme/theme4.xml><?xml version="1.0" encoding="utf-8"?>
<a:theme xmlns:a="http://schemas.openxmlformats.org/drawingml/2006/main" name="TITLE SLIDES">
  <a:themeElements>
    <a:clrScheme name="absa">
      <a:dk1>
        <a:srgbClr val="4D4D4D"/>
      </a:dk1>
      <a:lt1>
        <a:srgbClr val="FFFFFF"/>
      </a:lt1>
      <a:dk2>
        <a:srgbClr val="4D4D4D"/>
      </a:dk2>
      <a:lt2>
        <a:srgbClr val="FFFFFF"/>
      </a:lt2>
      <a:accent1>
        <a:srgbClr val="DC0032"/>
      </a:accent1>
      <a:accent2>
        <a:srgbClr val="FF780F"/>
      </a:accent2>
      <a:accent3>
        <a:srgbClr val="500A28"/>
      </a:accent3>
      <a:accent4>
        <a:srgbClr val="F05A78"/>
      </a:accent4>
      <a:accent5>
        <a:srgbClr val="870A3C"/>
      </a:accent5>
      <a:accent6>
        <a:srgbClr val="F52D28"/>
      </a:accent6>
      <a:hlink>
        <a:srgbClr val="DC0032"/>
      </a:hlink>
      <a:folHlink>
        <a:srgbClr val="4D4D4D"/>
      </a:folHlink>
    </a:clrScheme>
    <a:fontScheme name="Custom 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47721"/>
    </a:custClr>
    <a:custClr>
      <a:srgbClr val="500A28"/>
    </a:custClr>
    <a:custClr>
      <a:srgbClr val="F05A78"/>
    </a:custClr>
    <a:custClr>
      <a:srgbClr val="870A3C"/>
    </a:custClr>
    <a:custClr>
      <a:srgbClr val="F52D28"/>
    </a:custClr>
    <a:custClr>
      <a:srgbClr val="5A4B4B"/>
    </a:custClr>
    <a:custClr>
      <a:srgbClr val="F15726"/>
    </a:custClr>
    <a:custClr>
      <a:srgbClr val="AF144B"/>
    </a:custClr>
    <a:custClr>
      <a:srgbClr val="2D2323"/>
    </a:custClr>
    <a:custClr>
      <a:srgbClr val="BE0028"/>
    </a:custClr>
    <a:custClr>
      <a:srgbClr val="F0325A"/>
    </a:custClr>
    <a:custClr>
      <a:srgbClr val="640032"/>
    </a:custClr>
    <a:custClr>
      <a:srgbClr val="960528"/>
    </a:custClr>
    <a:custClr>
      <a:srgbClr val="2D2323"/>
    </a:custClr>
    <a:custClr>
      <a:srgbClr val="736464"/>
    </a:custClr>
    <a:custClr>
      <a:srgbClr val="4D4D4D"/>
    </a:custClr>
    <a:custClr>
      <a:srgbClr val="DC0032"/>
    </a:custClr>
    <a:custClr>
      <a:srgbClr val="F47721"/>
    </a:custClr>
    <a:custClr>
      <a:srgbClr val="72A309"/>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62AA"/>
    </a:custClr>
    <a:custClr>
      <a:srgbClr val="008864"/>
    </a:custClr>
    <a:custClr>
      <a:srgbClr val="698BBD"/>
    </a:custClr>
    <a:custClr>
      <a:srgbClr val="77368A"/>
    </a:custClr>
    <a:custClr>
      <a:srgbClr val="0E9E9E"/>
    </a:custClr>
    <a:custClr>
      <a:srgbClr val="00154D"/>
    </a:custClr>
    <a:custClr>
      <a:srgbClr val="4A2767"/>
    </a:custClr>
    <a:custClr>
      <a:srgbClr val="BB8C61"/>
    </a:custClr>
    <a:custClr>
      <a:srgbClr val="006241"/>
    </a:custClr>
    <a:custClr>
      <a:srgbClr val="015083"/>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71936EC2026648993E727CEC0C6D93" ma:contentTypeVersion="2" ma:contentTypeDescription="Create a new document." ma:contentTypeScope="" ma:versionID="55c42b79362cc890b2b4d4f3246616d5">
  <xsd:schema xmlns:xsd="http://www.w3.org/2001/XMLSchema" xmlns:xs="http://www.w3.org/2001/XMLSchema" xmlns:p="http://schemas.microsoft.com/office/2006/metadata/properties" xmlns:ns2="14166819-b32b-4f67-a2fe-fbe1b873b33e" targetNamespace="http://schemas.microsoft.com/office/2006/metadata/properties" ma:root="true" ma:fieldsID="05fa59455ebc63b9737dc74df7537f0d" ns2:_="">
    <xsd:import namespace="14166819-b32b-4f67-a2fe-fbe1b873b33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166819-b32b-4f67-a2fe-fbe1b873b3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BF03C2-879B-4CF7-92F4-0327FF10B7C0}">
  <ds:schemaRefs>
    <ds:schemaRef ds:uri="http://purl.org/dc/elements/1.1/"/>
    <ds:schemaRef ds:uri="14166819-b32b-4f67-a2fe-fbe1b873b33e"/>
    <ds:schemaRef ds:uri="http://purl.org/dc/dcmitype/"/>
    <ds:schemaRef ds:uri="http://purl.org/dc/terms/"/>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8438844-C339-498D-A2A0-143B5987B4A1}">
  <ds:schemaRefs>
    <ds:schemaRef ds:uri="http://schemas.microsoft.com/sharepoint/v3/contenttype/forms"/>
  </ds:schemaRefs>
</ds:datastoreItem>
</file>

<file path=customXml/itemProps3.xml><?xml version="1.0" encoding="utf-8"?>
<ds:datastoreItem xmlns:ds="http://schemas.openxmlformats.org/officeDocument/2006/customXml" ds:itemID="{6C7337E3-A143-438B-A02D-E443EC372B15}">
  <ds:schemaRefs>
    <ds:schemaRef ds:uri="14166819-b32b-4f67-a2fe-fbe1b873b3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4159</TotalTime>
  <Words>257</Words>
  <Application>Microsoft Office PowerPoint</Application>
  <PresentationFormat>Widescreen</PresentationFormat>
  <Paragraphs>30</Paragraphs>
  <Slides>1</Slides>
  <Notes>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5" baseType="lpstr">
      <vt:lpstr>Arial</vt:lpstr>
      <vt:lpstr>Brave Sans</vt:lpstr>
      <vt:lpstr>Brave Sans ExtraBold</vt:lpstr>
      <vt:lpstr>Brave Sans Light</vt:lpstr>
      <vt:lpstr>Brave Sans Medium</vt:lpstr>
      <vt:lpstr>Calibri</vt:lpstr>
      <vt:lpstr>Courier New</vt:lpstr>
      <vt:lpstr>Expert Sans Regular</vt:lpstr>
      <vt:lpstr>Söhne</vt:lpstr>
      <vt:lpstr>Theme1 ppt</vt:lpstr>
      <vt:lpstr>1_TITLE SLIDES</vt:lpstr>
      <vt:lpstr>1_Theme1 ppt</vt:lpstr>
      <vt:lpstr>TITLE SLIDES</vt:lpstr>
      <vt:lpstr>think-cell Slide</vt:lpstr>
      <vt:lpstr>Project Landscape : Improving insurance penetration in Africa </vt:lpstr>
    </vt:vector>
  </TitlesOfParts>
  <Company>Barclays Afr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Harvett (ZA)</dc:creator>
  <cp:lastModifiedBy>Mmatshegane Ntladi (ZA)</cp:lastModifiedBy>
  <cp:revision>424</cp:revision>
  <dcterms:created xsi:type="dcterms:W3CDTF">2021-07-23T15:24:58Z</dcterms:created>
  <dcterms:modified xsi:type="dcterms:W3CDTF">2024-04-17T16:2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1eb092da-e729-46a5-b865-a8f33e9ca7ea</vt:lpwstr>
  </property>
  <property fmtid="{D5CDD505-2E9C-101B-9397-08002B2CF9AE}" pid="3" name="TitusArchived">
    <vt:lpwstr>TitusArchivedFalse</vt:lpwstr>
  </property>
  <property fmtid="{D5CDD505-2E9C-101B-9397-08002B2CF9AE}" pid="4" name="TitusDestroyByDate">
    <vt:lpwstr>2028-07-21</vt:lpwstr>
  </property>
  <property fmtid="{D5CDD505-2E9C-101B-9397-08002B2CF9AE}" pid="5" name="TitusClassification">
    <vt:lpwstr>TitusRestricted</vt:lpwstr>
  </property>
  <property fmtid="{D5CDD505-2E9C-101B-9397-08002B2CF9AE}" pid="6" name="TitusGDPR">
    <vt:lpwstr>TitusGDPRNo</vt:lpwstr>
  </property>
  <property fmtid="{D5CDD505-2E9C-101B-9397-08002B2CF9AE}" pid="7" name="TitusPCI">
    <vt:lpwstr>TitusPCINo</vt:lpwstr>
  </property>
  <property fmtid="{D5CDD505-2E9C-101B-9397-08002B2CF9AE}" pid="8" name="TitusPOPI">
    <vt:lpwstr>TitusPOPINo</vt:lpwstr>
  </property>
  <property fmtid="{D5CDD505-2E9C-101B-9397-08002B2CF9AE}" pid="9" name="TitusPOPISpecial">
    <vt:lpwstr>TitusPOPISpecialNo</vt:lpwstr>
  </property>
  <property fmtid="{D5CDD505-2E9C-101B-9397-08002B2CF9AE}" pid="10" name="ContentTypeId">
    <vt:lpwstr>0x0101007271936EC2026648993E727CEC0C6D93</vt:lpwstr>
  </property>
  <property fmtid="{D5CDD505-2E9C-101B-9397-08002B2CF9AE}" pid="11" name="TitusContentScanMode">
    <vt:lpwstr>TitusContentScanModeAutomatic</vt:lpwstr>
  </property>
  <property fmtid="{D5CDD505-2E9C-101B-9397-08002B2CF9AE}" pid="12" name="MSIP_Label_4d7e46fc-7da6-4861-b6af-2416c1fa99ae_Enabled">
    <vt:lpwstr>true</vt:lpwstr>
  </property>
  <property fmtid="{D5CDD505-2E9C-101B-9397-08002B2CF9AE}" pid="13" name="MSIP_Label_4d7e46fc-7da6-4861-b6af-2416c1fa99ae_SetDate">
    <vt:lpwstr>2023-10-25T11:27:53Z</vt:lpwstr>
  </property>
  <property fmtid="{D5CDD505-2E9C-101B-9397-08002B2CF9AE}" pid="14" name="MSIP_Label_4d7e46fc-7da6-4861-b6af-2416c1fa99ae_Method">
    <vt:lpwstr>Standard</vt:lpwstr>
  </property>
  <property fmtid="{D5CDD505-2E9C-101B-9397-08002B2CF9AE}" pid="15" name="MSIP_Label_4d7e46fc-7da6-4861-b6af-2416c1fa99ae_Name">
    <vt:lpwstr>Restricted Internal</vt:lpwstr>
  </property>
  <property fmtid="{D5CDD505-2E9C-101B-9397-08002B2CF9AE}" pid="16" name="MSIP_Label_4d7e46fc-7da6-4861-b6af-2416c1fa99ae_SiteId">
    <vt:lpwstr>5be1f46d-495f-465b-9507-996e8c8cdcb6</vt:lpwstr>
  </property>
  <property fmtid="{D5CDD505-2E9C-101B-9397-08002B2CF9AE}" pid="17" name="MSIP_Label_4d7e46fc-7da6-4861-b6af-2416c1fa99ae_ActionId">
    <vt:lpwstr>9d237755-57f1-4bd2-946f-a239b0adfbef</vt:lpwstr>
  </property>
  <property fmtid="{D5CDD505-2E9C-101B-9397-08002B2CF9AE}" pid="18" name="MSIP_Label_4d7e46fc-7da6-4861-b6af-2416c1fa99ae_ContentBits">
    <vt:lpwstr>0</vt:lpwstr>
  </property>
</Properties>
</file>